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4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5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6.xml" ContentType="application/vnd.openxmlformats-officedocument.theme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7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8.xml" ContentType="application/vnd.openxmlformats-officedocument.theme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9.xml" ContentType="application/vnd.openxmlformats-officedocument.theme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theme/theme10.xml" ContentType="application/vnd.openxmlformats-officedocument.theme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theme/theme11.xml" ContentType="application/vnd.openxmlformats-officedocument.theme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theme/theme12.xml" ContentType="application/vnd.openxmlformats-officedocument.theme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theme/theme13.xml" ContentType="application/vnd.openxmlformats-officedocument.theme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theme/theme14.xml" ContentType="application/vnd.openxmlformats-officedocument.theme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theme/theme15.xml" ContentType="application/vnd.openxmlformats-officedocument.theme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theme/theme16.xml" ContentType="application/vnd.openxmlformats-officedocument.theme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723" r:id="rId2"/>
    <p:sldMasterId id="2147483729" r:id="rId3"/>
    <p:sldMasterId id="2147483762" r:id="rId4"/>
    <p:sldMasterId id="2147483782" r:id="rId5"/>
    <p:sldMasterId id="2147483814" r:id="rId6"/>
    <p:sldMasterId id="2147483847" r:id="rId7"/>
    <p:sldMasterId id="2147484012" r:id="rId8"/>
    <p:sldMasterId id="2147484144" r:id="rId9"/>
    <p:sldMasterId id="2147484177" r:id="rId10"/>
    <p:sldMasterId id="2147484210" r:id="rId11"/>
    <p:sldMasterId id="2147484243" r:id="rId12"/>
    <p:sldMasterId id="2147484254" r:id="rId13"/>
    <p:sldMasterId id="2147484287" r:id="rId14"/>
    <p:sldMasterId id="2147484320" r:id="rId15"/>
    <p:sldMasterId id="2147484328" r:id="rId16"/>
    <p:sldMasterId id="2147484366" r:id="rId17"/>
  </p:sldMasterIdLst>
  <p:notesMasterIdLst>
    <p:notesMasterId r:id="rId26"/>
  </p:notesMasterIdLst>
  <p:handoutMasterIdLst>
    <p:handoutMasterId r:id="rId27"/>
  </p:handoutMasterIdLst>
  <p:sldIdLst>
    <p:sldId id="1075" r:id="rId18"/>
    <p:sldId id="1142" r:id="rId19"/>
    <p:sldId id="1143" r:id="rId20"/>
    <p:sldId id="1144" r:id="rId21"/>
    <p:sldId id="1145" r:id="rId22"/>
    <p:sldId id="1146" r:id="rId23"/>
    <p:sldId id="1148" r:id="rId24"/>
    <p:sldId id="1147" r:id="rId25"/>
  </p:sldIdLst>
  <p:sldSz cx="12192000" cy="6858000"/>
  <p:notesSz cx="7010400" cy="92964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1AA8A4E-0B4B-41D3-8AE7-9500C70475DF}">
          <p14:sldIdLst>
            <p14:sldId id="1075"/>
            <p14:sldId id="1142"/>
            <p14:sldId id="1143"/>
            <p14:sldId id="1144"/>
            <p14:sldId id="1145"/>
            <p14:sldId id="1146"/>
            <p14:sldId id="1148"/>
          </p14:sldIdLst>
        </p14:section>
        <p14:section name="Backup" id="{515169ED-88C4-4301-8363-F554D6782875}">
          <p14:sldIdLst>
            <p14:sldId id="114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736" userDrawn="1">
          <p15:clr>
            <a:srgbClr val="A4A3A4"/>
          </p15:clr>
        </p15:guide>
        <p15:guide id="4" orient="horz" pos="3840">
          <p15:clr>
            <a:srgbClr val="A4A3A4"/>
          </p15:clr>
        </p15:guide>
        <p15:guide id="5" pos="1296" userDrawn="1">
          <p15:clr>
            <a:srgbClr val="A4A3A4"/>
          </p15:clr>
        </p15:guide>
        <p15:guide id="6" pos="384">
          <p15:clr>
            <a:srgbClr val="A4A3A4"/>
          </p15:clr>
        </p15:guide>
        <p15:guide id="7" pos="5232" userDrawn="1">
          <p15:clr>
            <a:srgbClr val="A4A3A4"/>
          </p15:clr>
        </p15:guide>
        <p15:guide id="8" orient="horz" pos="960">
          <p15:clr>
            <a:srgbClr val="A4A3A4"/>
          </p15:clr>
        </p15:guide>
        <p15:guide id="9" pos="1680" userDrawn="1">
          <p15:clr>
            <a:srgbClr val="A4A3A4"/>
          </p15:clr>
        </p15:guide>
        <p15:guide id="10" pos="54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Lal, Saumya" initials="SL" lastIdx="5" clrIdx="6">
    <p:extLst>
      <p:ext uri="{19B8F6BF-5375-455C-9EA6-DF929625EA0E}">
        <p15:presenceInfo xmlns:p15="http://schemas.microsoft.com/office/powerpoint/2012/main" userId="Lal, Saumya" providerId="None"/>
      </p:ext>
    </p:extLst>
  </p:cmAuthor>
  <p:cmAuthor id="1" name="Srinivasan, Navneeth" initials="NS" lastIdx="7" clrIdx="0">
    <p:extLst>
      <p:ext uri="{19B8F6BF-5375-455C-9EA6-DF929625EA0E}">
        <p15:presenceInfo xmlns:p15="http://schemas.microsoft.com/office/powerpoint/2012/main" userId="Srinivasan, Navneeth" providerId="None"/>
      </p:ext>
    </p:extLst>
  </p:cmAuthor>
  <p:cmAuthor id="8" name="Patil, Ambar" initials="AP" lastIdx="1" clrIdx="7">
    <p:extLst>
      <p:ext uri="{19B8F6BF-5375-455C-9EA6-DF929625EA0E}">
        <p15:presenceInfo xmlns:p15="http://schemas.microsoft.com/office/powerpoint/2012/main" userId="Patil, Ambar" providerId="None"/>
      </p:ext>
    </p:extLst>
  </p:cmAuthor>
  <p:cmAuthor id="2" name="Menon, Nikhil" initials="NM" lastIdx="18" clrIdx="1">
    <p:extLst>
      <p:ext uri="{19B8F6BF-5375-455C-9EA6-DF929625EA0E}">
        <p15:presenceInfo xmlns:p15="http://schemas.microsoft.com/office/powerpoint/2012/main" userId="Menon, Nikhil" providerId="None"/>
      </p:ext>
    </p:extLst>
  </p:cmAuthor>
  <p:cmAuthor id="9" name="Somasundaram Mohanam, MuthuKumar" initials="MS" lastIdx="1" clrIdx="8">
    <p:extLst>
      <p:ext uri="{19B8F6BF-5375-455C-9EA6-DF929625EA0E}">
        <p15:presenceInfo xmlns:p15="http://schemas.microsoft.com/office/powerpoint/2012/main" userId="Somasundaram Mohanam, MuthuKumar" providerId="None"/>
      </p:ext>
    </p:extLst>
  </p:cmAuthor>
  <p:cmAuthor id="3" name="Deshmukh, Ninad" initials="ND" lastIdx="2" clrIdx="2">
    <p:extLst>
      <p:ext uri="{19B8F6BF-5375-455C-9EA6-DF929625EA0E}">
        <p15:presenceInfo xmlns:p15="http://schemas.microsoft.com/office/powerpoint/2012/main" userId="Deshmukh, Ninad" providerId="None"/>
      </p:ext>
    </p:extLst>
  </p:cmAuthor>
  <p:cmAuthor id="4" name="Spradley, Scott (CIO)" initials="SS(" lastIdx="2" clrIdx="3">
    <p:extLst>
      <p:ext uri="{19B8F6BF-5375-455C-9EA6-DF929625EA0E}">
        <p15:presenceInfo xmlns:p15="http://schemas.microsoft.com/office/powerpoint/2012/main" userId="S-1-5-21-839522115-1383384898-515967899-1775284" providerId="AD"/>
      </p:ext>
    </p:extLst>
  </p:cmAuthor>
  <p:cmAuthor id="5" name="Kanwar, Jasneet" initials="JK" lastIdx="23" clrIdx="4">
    <p:extLst>
      <p:ext uri="{19B8F6BF-5375-455C-9EA6-DF929625EA0E}">
        <p15:presenceInfo xmlns:p15="http://schemas.microsoft.com/office/powerpoint/2012/main" userId="Kanwar, Jasneet" providerId="None"/>
      </p:ext>
    </p:extLst>
  </p:cmAuthor>
  <p:cmAuthor id="6" name="Gupta, Rajesh" initials="RG" lastIdx="13" clrIdx="5">
    <p:extLst>
      <p:ext uri="{19B8F6BF-5375-455C-9EA6-DF929625EA0E}">
        <p15:presenceInfo xmlns:p15="http://schemas.microsoft.com/office/powerpoint/2012/main" userId="Gupta, Rajes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3D2FF"/>
    <a:srgbClr val="FF6600"/>
    <a:srgbClr val="FFC000"/>
    <a:srgbClr val="2AD2C9"/>
    <a:srgbClr val="FF8D6D"/>
    <a:srgbClr val="614767"/>
    <a:srgbClr val="25B5AE"/>
    <a:srgbClr val="28C6BE"/>
    <a:srgbClr val="9F88AD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DE56A56-3E19-4B0C-950E-D6411349C83D}" v="269" dt="2021-11-22T21:27:22.694"/>
  </p1510:revLst>
</p1510:revInfo>
</file>

<file path=ppt/tableStyles.xml><?xml version="1.0" encoding="utf-8"?>
<a:tblStyleLst xmlns:a="http://schemas.openxmlformats.org/drawingml/2006/main" def="{912C8C85-51F0-491E-9774-3900AFEF0F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859" autoAdjust="0"/>
    <p:restoredTop sz="90012" autoAdjust="0"/>
  </p:normalViewPr>
  <p:slideViewPr>
    <p:cSldViewPr>
      <p:cViewPr>
        <p:scale>
          <a:sx n="62" d="100"/>
          <a:sy n="62" d="100"/>
        </p:scale>
        <p:origin x="680" y="-204"/>
      </p:cViewPr>
      <p:guideLst>
        <p:guide orient="horz" pos="2736"/>
        <p:guide orient="horz" pos="3840"/>
        <p:guide pos="1296"/>
        <p:guide pos="384"/>
        <p:guide pos="5232"/>
        <p:guide orient="horz" pos="960"/>
        <p:guide pos="1680"/>
        <p:guide pos="54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3852" y="9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4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8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3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tags" Target="tags/tag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8" Type="http://schemas.openxmlformats.org/officeDocument/2006/relationships/slideMaster" Target="slideMasters/slideMaster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w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image" Target="../media/image14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3CA61830-C416-483F-955E-54203C65B711}" type="datetimeFigureOut">
              <a:rPr lang="en-US"/>
              <a:t>11/23/2021</a:t>
            </a:fld>
            <a:endParaRPr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EF31B20-3646-4475-8BC4-560CAF715D08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292446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0050" y="387350"/>
            <a:ext cx="4651375" cy="26162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9467" y="3176270"/>
            <a:ext cx="6231467" cy="54229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89467" y="8831580"/>
            <a:ext cx="4985173" cy="2307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/>
            </a:lvl1pPr>
          </a:lstStyle>
          <a:p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997787" y="8831580"/>
            <a:ext cx="623147" cy="2307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/>
            </a:lvl1pPr>
          </a:lstStyle>
          <a:p>
            <a:fld id="{5BFEAE42-E3FE-4405-B7FC-4425D05B92A0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8636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45720" indent="-36576" algn="l" defTabSz="914400" rtl="0" eaLnBrk="1" latinLnBrk="0" hangingPunct="1">
      <a:spcBef>
        <a:spcPts val="600"/>
      </a:spcBef>
      <a:buSzPct val="25000"/>
      <a:buFont typeface="Arial" panose="020B0604020202020204" pitchFamily="34" charset="0"/>
      <a:buChar char=" 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28600" indent="-137160" algn="l" defTabSz="914400" rtl="0" eaLnBrk="1" latinLnBrk="0" hangingPunct="1">
      <a:spcBef>
        <a:spcPts val="600"/>
      </a:spcBef>
      <a:buFont typeface="Arial" panose="020B0604020202020204" pitchFamily="34" charset="0"/>
      <a:buChar char="–"/>
      <a:defRPr sz="1050" kern="1200">
        <a:solidFill>
          <a:schemeClr val="tx1"/>
        </a:solidFill>
        <a:latin typeface="+mn-lt"/>
        <a:ea typeface="+mn-ea"/>
        <a:cs typeface="+mn-cs"/>
      </a:defRPr>
    </a:lvl2pPr>
    <a:lvl3pPr marL="365760" indent="-109728" algn="l" defTabSz="914400" rtl="0" eaLnBrk="1" latinLnBrk="0" hangingPunct="1">
      <a:spcBef>
        <a:spcPts val="600"/>
      </a:spcBef>
      <a:buFont typeface="Arial" panose="020B0604020202020204" pitchFamily="34" charset="0"/>
      <a:buChar char="–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48640" indent="-109728" algn="l" defTabSz="914400" rtl="0" eaLnBrk="1" latinLnBrk="0" hangingPunct="1">
      <a:spcBef>
        <a:spcPts val="600"/>
      </a:spcBef>
      <a:buFont typeface="Arial" panose="020B0604020202020204" pitchFamily="34" charset="0"/>
      <a:buChar char="–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731520" indent="-109728" algn="l" defTabSz="914400" rtl="0" eaLnBrk="1" latinLnBrk="0" hangingPunct="1">
      <a:spcBef>
        <a:spcPts val="600"/>
      </a:spcBef>
      <a:buFont typeface="Arial" panose="020B0604020202020204" pitchFamily="34" charset="0"/>
      <a:buChar char="–"/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0517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FEAE42-E3FE-4405-B7FC-4425D05B92A0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60798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FEAE42-E3FE-4405-B7FC-4425D05B92A0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90482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FEAE42-E3FE-4405-B7FC-4425D05B92A0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76462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FEAE42-E3FE-4405-B7FC-4425D05B92A0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83450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FEAE42-E3FE-4405-B7FC-4425D05B92A0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01907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FEAE42-E3FE-4405-B7FC-4425D05B92A0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22656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FEAE42-E3FE-4405-B7FC-4425D05B92A0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88546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9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0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1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1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3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3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4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4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6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7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7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7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609865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432345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914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5353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286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46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1323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307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521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536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8966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2089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364303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3493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9247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3065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2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356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 Regular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  <a:latin typeface="Metric Regular" panose="020B0503030202060203" pitchFamily="34" charset="0"/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378040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770306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4404310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100539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996661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755291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0862810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634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95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0954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031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2687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252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202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197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804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0616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29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8145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51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8160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78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5579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2781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7639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3745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3961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70680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1907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68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7614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3057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2525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27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840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 Regular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  <a:latin typeface="Metric Regular" panose="020B0503030202060203" pitchFamily="34" charset="0"/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537170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4072602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1973945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49791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685460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4146616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6047741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4507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8063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198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136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551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9246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7156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2938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6131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84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66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5809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0019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529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8943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923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4316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2330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65925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034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0955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7903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7732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594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09613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3737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631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226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 Regular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  <a:latin typeface="Metric Regular" panose="020B0503030202060203" pitchFamily="34" charset="0"/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4045210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8324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568825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2459164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3983123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217511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1474106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610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7049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41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611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487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02981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736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416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37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387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689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609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3014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360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994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4667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41768681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6084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818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440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823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7327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4989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246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MetricHPE" panose="020B0503030202060203" pitchFamily="34" charset="0"/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MetricHPE" panose="020B05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84723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  <a:latin typeface="MetricHPE" panose="020B0503030202060203" pitchFamily="34" charset="0"/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  <a:latin typeface="MetricHPE" panose="020B05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1214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MetricHPE" panose="020B0503030202060203" pitchFamily="34" charset="0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MetricHPE" panose="020B05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7502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7890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62543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6898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  <a:latin typeface="MetricHPE" panose="020B05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  <a:latin typeface="MetricHPE" panose="020B0503030202060203" pitchFamily="34" charset="0"/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  <a:latin typeface="MetricHPE" panose="020B0503030202060203" pitchFamily="34" charset="0"/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476906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  <a:latin typeface="MetricHPE" panose="020B05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  <a:latin typeface="MetricHPE" panose="020B0503030202060203" pitchFamily="34" charset="0"/>
              </a:endParaRP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  <a:latin typeface="MetricHPE" panose="020B0503030202060203" pitchFamily="34" charset="0"/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57229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  <a:latin typeface="MetricHPE" panose="020B05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  <a:latin typeface="MetricHPE" panose="020B0503030202060203" pitchFamily="34" charset="0"/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  <a:latin typeface="MetricHPE" panose="020B0503030202060203" pitchFamily="34" charset="0"/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5763189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  <a:latin typeface="MetricHPE" panose="020B05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  <a:latin typeface="MetricHPE" panose="020B0503030202060203" pitchFamily="34" charset="0"/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  <a:latin typeface="MetricHPE" panose="020B0503030202060203" pitchFamily="34" charset="0"/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501217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  <a:latin typeface="MetricHPE" panose="020B0503030202060203" pitchFamily="34" charset="0"/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  <a:latin typeface="MetricHPE" panose="020B0503030202060203" pitchFamily="34" charset="0"/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  <a:latin typeface="MetricHPE" panose="020B0503030202060203" pitchFamily="34" charset="0"/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425413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  <a:latin typeface="MetricHPE" panose="020B0503030202060203" pitchFamily="34" charset="0"/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  <a:latin typeface="MetricHPE" panose="020B0503030202060203" pitchFamily="34" charset="0"/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  <a:latin typeface="MetricHPE" panose="020B0503030202060203" pitchFamily="34" charset="0"/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5798731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410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sz="2800" baseline="0"/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6297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448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9148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619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258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851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1018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867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23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773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28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3988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697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0263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2696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864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621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87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815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MetricHPE" panose="020B0503030202060203" pitchFamily="34" charset="0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MetricHPE" panose="020B05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7751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MetricHPE" panose="020B0503030202060203" pitchFamily="34" charset="0"/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MetricHPE" panose="020B05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9107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F8634979-3E6E-4693-BB9C-A57354371081}" type="datetime4">
              <a:rPr lang="en-US">
                <a:solidFill>
                  <a:prstClr val="black"/>
                </a:solidFill>
              </a:rPr>
              <a:pPr/>
              <a:t>November 23, 2021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74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0962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16393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82299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8830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916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022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 b="1" i="1" u="none"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 Regular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  <a:latin typeface="Metric Regular" panose="020B0503030202060203" pitchFamily="34" charset="0"/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663692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376060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209271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609685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477689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672870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023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79856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7733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3663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653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i="1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7057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712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7074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144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47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8282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173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71410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871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151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8298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870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002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193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947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1094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9210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260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77185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094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69588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31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5234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881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 b="1" i="1" u="none"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758810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985920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154159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580367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052532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0189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7041956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806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1235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943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6482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i="1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624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7102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638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439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364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01589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983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915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25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735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82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464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7373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448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808080"/>
                </a:solidFill>
              </a:rPr>
              <a:pPr/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1485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3535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3639556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392541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2833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045985" y="6340600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894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2" y="2209800"/>
            <a:ext cx="10438607" cy="1905000"/>
          </a:xfrm>
        </p:spPr>
        <p:txBody>
          <a:bodyPr anchor="b"/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10440986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3590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vert="horz" wrap="none" lIns="0" tIns="0" rIns="0" bIns="0" rtlCol="0" anchor="b" anchorCtr="0"/>
          <a:lstStyle>
            <a:lvl1pPr>
              <a:defRPr lang="en-US" smtClean="0"/>
            </a:lvl1pPr>
          </a:lstStyle>
          <a:p>
            <a:r>
              <a:rPr>
                <a:solidFill>
                  <a:srgbClr val="5F7A76"/>
                </a:solidFill>
              </a:rPr>
              <a:t>Slide </a:t>
            </a:r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r>
              <a:rPr lang="en-US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063307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vert="horz" wrap="none" lIns="0" tIns="0" rIns="0" bIns="0" rtlCol="0" anchor="b" anchorCtr="0"/>
          <a:lstStyle>
            <a:lvl1pPr>
              <a:defRPr lang="en-US" smtClean="0"/>
            </a:lvl1pPr>
          </a:lstStyle>
          <a:p>
            <a:r>
              <a:rPr>
                <a:solidFill>
                  <a:srgbClr val="5F7A76"/>
                </a:solidFill>
              </a:rPr>
              <a:t>Slide </a:t>
            </a:r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r>
              <a:rPr lang="en-US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42197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vert="horz" wrap="none" lIns="0" tIns="0" rIns="0" bIns="0" rtlCol="0" anchor="b" anchorCtr="0"/>
          <a:lstStyle>
            <a:lvl1pPr>
              <a:defRPr lang="en-US" smtClean="0"/>
            </a:lvl1pPr>
          </a:lstStyle>
          <a:p>
            <a:r>
              <a:rPr>
                <a:solidFill>
                  <a:srgbClr val="5F7A76"/>
                </a:solidFill>
              </a:rPr>
              <a:t>Slide </a:t>
            </a:r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r>
              <a:rPr lang="en-US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366851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1A98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82880" indent="-182880">
              <a:buClr>
                <a:schemeClr val="tx1">
                  <a:lumMod val="65000"/>
                  <a:lumOff val="35000"/>
                </a:schemeClr>
              </a:buClr>
              <a:defRPr lang="en-US" sz="1800" b="0" kern="1200" baseline="0" dirty="0" smtClean="0">
                <a:solidFill>
                  <a:srgbClr val="01A982"/>
                </a:solidFill>
                <a:latin typeface="+mn-lt"/>
                <a:ea typeface="+mn-ea"/>
                <a:cs typeface="+mn-cs"/>
              </a:defRPr>
            </a:lvl1pPr>
            <a:lvl2pPr>
              <a:buClr>
                <a:schemeClr val="tx1">
                  <a:lumMod val="65000"/>
                  <a:lumOff val="35000"/>
                </a:schemeClr>
              </a:buClr>
              <a:defRPr/>
            </a:lvl2pPr>
            <a:lvl3pPr>
              <a:buClr>
                <a:schemeClr val="tx1">
                  <a:lumMod val="65000"/>
                  <a:lumOff val="35000"/>
                </a:schemeClr>
              </a:buClr>
              <a:defRPr/>
            </a:lvl3pPr>
            <a:lvl4pPr>
              <a:buClr>
                <a:schemeClr val="tx1">
                  <a:lumMod val="65000"/>
                  <a:lumOff val="35000"/>
                </a:schemeClr>
              </a:buClr>
              <a:defRPr/>
            </a:lvl4pPr>
            <a:lvl5pPr>
              <a:buClr>
                <a:schemeClr val="tx1">
                  <a:lumMod val="65000"/>
                  <a:lumOff val="35000"/>
                </a:schemeClr>
              </a:buClr>
              <a:defRPr/>
            </a:lvl5pPr>
          </a:lstStyle>
          <a:p>
            <a:pPr marL="182880" lvl="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01A982"/>
              </a:buClr>
              <a:buFont typeface="Wingdings" panose="05000000000000000000" pitchFamily="2" charset="2"/>
              <a:buChar char="§"/>
            </a:pPr>
            <a:r>
              <a:rPr lang="en-US"/>
              <a:t>Click to edit Master text styles</a:t>
            </a:r>
          </a:p>
          <a:p>
            <a:pPr marL="182880" lvl="1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01A982"/>
              </a:buClr>
              <a:buFont typeface="Wingdings" panose="05000000000000000000" pitchFamily="2" charset="2"/>
              <a:buChar char="§"/>
            </a:pPr>
            <a:r>
              <a:rPr lang="en-US"/>
              <a:t>Second level</a:t>
            </a:r>
          </a:p>
          <a:p>
            <a:pPr marL="182880" lvl="2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01A982"/>
              </a:buClr>
              <a:buFont typeface="Wingdings" panose="05000000000000000000" pitchFamily="2" charset="2"/>
              <a:buChar char="§"/>
            </a:pPr>
            <a:r>
              <a:rPr lang="en-US"/>
              <a:t>Third level</a:t>
            </a:r>
          </a:p>
          <a:p>
            <a:pPr marL="182880" lvl="3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01A982"/>
              </a:buClr>
              <a:buFont typeface="Wingdings" panose="05000000000000000000" pitchFamily="2" charset="2"/>
              <a:buChar char="§"/>
            </a:pPr>
            <a:r>
              <a:rPr lang="en-US"/>
              <a:t>Fourth level</a:t>
            </a:r>
          </a:p>
          <a:p>
            <a:pPr marL="182880" lvl="4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01A982"/>
              </a:buClr>
              <a:buFont typeface="Wingdings" panose="05000000000000000000" pitchFamily="2" charset="2"/>
              <a:buChar char="§"/>
            </a:pPr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5F7A76"/>
                </a:solidFill>
              </a:rPr>
              <a:t>Slide </a:t>
            </a:r>
            <a:fld id="{B016F8AB-BCEA-4347-8BA6-BE776009BC89}" type="slidenum">
              <a:rPr smtClean="0"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r>
              <a:rPr lang="en-US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46834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vert="horz" wrap="none" lIns="0" tIns="0" rIns="0" bIns="0" rtlCol="0" anchor="b" anchorCtr="0"/>
          <a:lstStyle>
            <a:lvl1pPr>
              <a:defRPr lang="en-US" smtClean="0"/>
            </a:lvl1pPr>
          </a:lstStyle>
          <a:p>
            <a:r>
              <a:rPr>
                <a:solidFill>
                  <a:srgbClr val="5F7A76"/>
                </a:solidFill>
              </a:rPr>
              <a:t>Slide </a:t>
            </a:r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r>
              <a:rPr lang="en-US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241050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 vert="horz" wrap="none" lIns="0" tIns="0" rIns="0" bIns="0" rtlCol="0" anchor="b" anchorCtr="0"/>
          <a:lstStyle>
            <a:lvl1pPr>
              <a:defRPr lang="en-US" smtClean="0"/>
            </a:lvl1pPr>
          </a:lstStyle>
          <a:p>
            <a:r>
              <a:rPr>
                <a:solidFill>
                  <a:srgbClr val="5F7A76"/>
                </a:solidFill>
              </a:rPr>
              <a:t>Slide </a:t>
            </a:r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r>
              <a:rPr lang="en-US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766291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vert="horz" wrap="none" lIns="0" tIns="0" rIns="0" bIns="0" rtlCol="0" anchor="b" anchorCtr="0"/>
          <a:lstStyle>
            <a:lvl1pPr>
              <a:defRPr lang="en-US" smtClean="0"/>
            </a:lvl1pPr>
          </a:lstStyle>
          <a:p>
            <a:r>
              <a:rPr>
                <a:solidFill>
                  <a:srgbClr val="5F7A76"/>
                </a:solidFill>
              </a:rPr>
              <a:t>Slide </a:t>
            </a:r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r>
              <a:rPr lang="en-US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411063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5511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vert="horz" wrap="none" lIns="0" tIns="0" rIns="0" bIns="0" rtlCol="0" anchor="b" anchorCtr="0"/>
          <a:lstStyle>
            <a:lvl1pPr>
              <a:defRPr lang="en-US" smtClean="0"/>
            </a:lvl1pPr>
          </a:lstStyle>
          <a:p>
            <a:r>
              <a:rPr>
                <a:solidFill>
                  <a:srgbClr val="5F7A76"/>
                </a:solidFill>
              </a:rPr>
              <a:t>Slide </a:t>
            </a:r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r>
              <a:rPr lang="en-US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585584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6097957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3010421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3530730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2982108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36860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90811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 Regular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/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  <a:latin typeface="Metric Regular" panose="020B0503030202060203" pitchFamily="34" charset="0"/>
              </a:rPr>
              <a:t>© Copyright 2017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293362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/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7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342882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/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© Copyright 2017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9104134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505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/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© Copyright 2017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3846427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7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519369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© Copyright 2017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7252491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92921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16445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30843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7528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58799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8121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06071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5500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Rectangle 1"/>
          <p:cNvSpPr>
            <a:spLocks noChangeArrowheads="1"/>
          </p:cNvSpPr>
          <p:nvPr userDrawn="1"/>
        </p:nvSpPr>
        <p:spPr bwMode="auto">
          <a:xfrm>
            <a:off x="608013" y="5814283"/>
            <a:ext cx="10974387" cy="784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ment Study Only – No decision has been made to approve or implement the contents herein</a:t>
            </a:r>
            <a:endParaRPr lang="en-US" sz="12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“For those countries that require consultation with works councils or other employee representatives, this is not intended to provide regional or country-specific complete information on this project (but only details of the possible measures contemplated) and in no way reflects that final decisions have been made at a country level. With respect to such countries final decisions are subject to prior consultation with works councils and other employee representatives, as required, and compliance with local laws.”</a:t>
            </a:r>
            <a:endParaRPr lang="en-US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8162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07828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27302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55777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88113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60148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89902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43390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51374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81763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19904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5500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5939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0640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389276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3587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128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992040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4582164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3571503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53773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95189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 Regular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/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  <a:latin typeface="Metric Regular" panose="020B0503030202060203" pitchFamily="34" charset="0"/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646171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65872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/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17215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/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9442097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/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41089801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291849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067590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606205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48187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13481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82441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1851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955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14337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41772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32340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752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5507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74594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426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37974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0398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7825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021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34466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3179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265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964826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9108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2028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4161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BB587-DE96-4BB3-B42A-FE00B641D6AE}" type="datetime1">
              <a:rPr lang="en-GB" smtClean="0">
                <a:solidFill>
                  <a:prstClr val="black"/>
                </a:solidFill>
              </a:rPr>
              <a:pPr/>
              <a:t>23/11/2021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507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E97B3B-6D4E-4653-B7DA-0D9829560091}" type="datetime1">
              <a:rPr lang="en-GB" smtClean="0">
                <a:solidFill>
                  <a:prstClr val="black"/>
                </a:solidFill>
              </a:rPr>
              <a:pPr/>
              <a:t>23/11/2021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731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D37B6C-98E9-4C87-AFD7-01F569524F3A}" type="datetime1">
              <a:rPr lang="en-GB" smtClean="0">
                <a:solidFill>
                  <a:prstClr val="black"/>
                </a:solidFill>
              </a:rPr>
              <a:pPr/>
              <a:t>23/11/2021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807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2125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8B287-2679-41AE-AD5D-43A8AC382CAE}" type="datetime1">
              <a:rPr lang="en-GB" smtClean="0">
                <a:solidFill>
                  <a:prstClr val="black"/>
                </a:solidFill>
              </a:rPr>
              <a:pPr/>
              <a:t>23/11/2021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98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Slide with Picture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7162007" cy="1905000"/>
          </a:xfrm>
        </p:spPr>
        <p:txBody>
          <a:bodyPr anchor="b"/>
          <a:lstStyle>
            <a:lvl1pPr>
              <a:lnSpc>
                <a:spcPct val="80000"/>
              </a:lnSpc>
              <a:defRPr sz="6600"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6898" y="4267200"/>
            <a:ext cx="7162007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sp>
        <p:nvSpPr>
          <p:cNvPr id="13" name="Rectangle 12"/>
          <p:cNvSpPr/>
          <p:nvPr userDrawn="1"/>
        </p:nvSpPr>
        <p:spPr bwMode="ltGray">
          <a:xfrm>
            <a:off x="8503920" y="548640"/>
            <a:ext cx="3688080" cy="384048"/>
          </a:xfrm>
          <a:prstGeom prst="rect">
            <a:avLst/>
          </a:prstGeom>
          <a:solidFill>
            <a:srgbClr val="01A98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ltGray">
          <a:xfrm>
            <a:off x="8503920" y="1905000"/>
            <a:ext cx="3688080" cy="384048"/>
          </a:xfrm>
          <a:prstGeom prst="rect">
            <a:avLst/>
          </a:prstGeom>
          <a:solidFill>
            <a:srgbClr val="01A98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 bwMode="ltGray">
          <a:xfrm rot="5400000">
            <a:off x="7633716" y="1226820"/>
            <a:ext cx="1740408" cy="384048"/>
          </a:xfrm>
          <a:prstGeom prst="rect">
            <a:avLst/>
          </a:prstGeom>
          <a:solidFill>
            <a:srgbClr val="01A98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 bwMode="ltGray">
          <a:xfrm>
            <a:off x="8503920" y="2526792"/>
            <a:ext cx="3688080" cy="384048"/>
          </a:xfrm>
          <a:prstGeom prst="rect">
            <a:avLst/>
          </a:prstGeom>
          <a:solidFill>
            <a:srgbClr val="01A98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 bwMode="ltGray">
          <a:xfrm>
            <a:off x="8503920" y="3883152"/>
            <a:ext cx="3688080" cy="384048"/>
          </a:xfrm>
          <a:prstGeom prst="rect">
            <a:avLst/>
          </a:prstGeom>
          <a:solidFill>
            <a:srgbClr val="01A98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 bwMode="ltGray">
          <a:xfrm rot="5400000">
            <a:off x="7633716" y="3204972"/>
            <a:ext cx="1740408" cy="384048"/>
          </a:xfrm>
          <a:prstGeom prst="rect">
            <a:avLst/>
          </a:prstGeom>
          <a:solidFill>
            <a:srgbClr val="01A98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 bwMode="ltGray">
          <a:xfrm>
            <a:off x="8503920" y="4504944"/>
            <a:ext cx="3688080" cy="384048"/>
          </a:xfrm>
          <a:prstGeom prst="rect">
            <a:avLst/>
          </a:prstGeom>
          <a:solidFill>
            <a:srgbClr val="01A98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 bwMode="ltGray">
          <a:xfrm>
            <a:off x="8503920" y="5861304"/>
            <a:ext cx="3688080" cy="384048"/>
          </a:xfrm>
          <a:prstGeom prst="rect">
            <a:avLst/>
          </a:prstGeom>
          <a:solidFill>
            <a:srgbClr val="01A98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 bwMode="ltGray">
          <a:xfrm rot="5400000">
            <a:off x="7633716" y="5183124"/>
            <a:ext cx="1740408" cy="384048"/>
          </a:xfrm>
          <a:prstGeom prst="rect">
            <a:avLst/>
          </a:prstGeom>
          <a:solidFill>
            <a:srgbClr val="01A98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533400"/>
            <a:ext cx="3037806" cy="1219403"/>
          </a:xfrm>
          <a:prstGeom prst="rect">
            <a:avLst/>
          </a:prstGeom>
        </p:spPr>
      </p:pic>
      <p:sp>
        <p:nvSpPr>
          <p:cNvPr id="24" name="Title 4"/>
          <p:cNvSpPr txBox="1">
            <a:spLocks/>
          </p:cNvSpPr>
          <p:nvPr userDrawn="1"/>
        </p:nvSpPr>
        <p:spPr>
          <a:xfrm>
            <a:off x="609600" y="1066800"/>
            <a:ext cx="2895600" cy="60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6600" b="1" kern="1200">
                <a:solidFill>
                  <a:schemeClr val="tx1"/>
                </a:solidFill>
                <a:latin typeface="MetricHPE" panose="020B0503030202060203" pitchFamily="34" charset="0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prstClr val="black"/>
                </a:solidFill>
              </a:rPr>
              <a:t>Hewlett Packard</a:t>
            </a:r>
            <a:br>
              <a:rPr lang="en-US" sz="3200" dirty="0">
                <a:solidFill>
                  <a:prstClr val="black"/>
                </a:solidFill>
              </a:rPr>
            </a:br>
            <a:r>
              <a:rPr lang="en-US" sz="3200" b="0" dirty="0">
                <a:solidFill>
                  <a:prstClr val="black"/>
                </a:solidFill>
              </a:rPr>
              <a:t>Enterprise</a:t>
            </a:r>
          </a:p>
        </p:txBody>
      </p:sp>
    </p:spTree>
    <p:extLst>
      <p:ext uri="{BB962C8B-B14F-4D97-AF65-F5344CB8AC3E}">
        <p14:creationId xmlns:p14="http://schemas.microsoft.com/office/powerpoint/2010/main" val="5914017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F7A64-2D2E-4A7E-B86F-84B4A933729E}" type="datetime1">
              <a:rPr lang="en-GB" smtClean="0">
                <a:solidFill>
                  <a:prstClr val="black"/>
                </a:solidFill>
              </a:rPr>
              <a:pPr/>
              <a:t>23/11/2021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237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021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481241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B1C4460-9D51-48F8-87F8-88E0DE4E454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19415EC-B287-40A3-A91D-E9356CAD1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9B5C71F-50B9-4243-83A7-A7AFAEFD58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10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545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92100" y="3413925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2359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9982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B607F37-173B-4A34-95FA-297523FEF6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3737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83053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567728E-6D0A-492B-89E6-39E2244625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3223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64B2CD-8FCB-4B30-B00B-A402E5693B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269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914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96867C9-FAEA-4AB9-9E4F-5E469CDF0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398" y="899032"/>
            <a:ext cx="9148360" cy="2862630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97CBB38-1E71-4985-B7D1-ACBC191C50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2026245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5750" y="999160"/>
            <a:ext cx="11525249" cy="5096839"/>
          </a:xfrm>
        </p:spPr>
        <p:txBody>
          <a:bodyPr lIns="91440" rIns="91440"/>
          <a:lstStyle>
            <a:lvl1pPr>
              <a:buClrTx/>
              <a:defRPr>
                <a:latin typeface="MetricHPE" panose="020B0503030202060203" pitchFamily="34" charset="0"/>
              </a:defRPr>
            </a:lvl1pPr>
            <a:lvl2pPr>
              <a:buClrTx/>
              <a:defRPr>
                <a:latin typeface="MetricHPE" panose="020B0503030202060203" pitchFamily="34" charset="0"/>
              </a:defRPr>
            </a:lvl2pPr>
            <a:lvl3pPr>
              <a:buClrTx/>
              <a:defRPr>
                <a:latin typeface="MetricHPE" panose="020B0503030202060203" pitchFamily="34" charset="0"/>
              </a:defRPr>
            </a:lvl3pPr>
            <a:lvl4pPr>
              <a:buClrTx/>
              <a:defRPr>
                <a:latin typeface="MetricHPE" panose="020B0503030202060203" pitchFamily="34" charset="0"/>
              </a:defRPr>
            </a:lvl4pPr>
            <a:lvl5pPr>
              <a:buClrTx/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543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1746" y="1344281"/>
            <a:ext cx="11529254" cy="4751719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3705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8096" y="1733015"/>
            <a:ext cx="11522904" cy="4367541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solidFill>
                  <a:schemeClr val="bg1"/>
                </a:solidFill>
                <a:latin typeface="MetricHPE" panose="020B0503030202060203" pitchFamily="34" charset="0"/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5" y="1350296"/>
            <a:ext cx="1151413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711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616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3936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921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4666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4758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283500" y="995363"/>
            <a:ext cx="5523992" cy="5100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287008" y="995363"/>
            <a:ext cx="5523992" cy="5100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F818B02-6D3B-4B21-898C-712990E97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94921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283500" y="1376363"/>
            <a:ext cx="5518586" cy="4719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92414" y="1376363"/>
            <a:ext cx="5518586" cy="4719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97009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3866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276815" y="1739233"/>
            <a:ext cx="5534077" cy="4360322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1411" y="1358232"/>
            <a:ext cx="5529386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0277" y="1358232"/>
            <a:ext cx="5529386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276923" y="1739233"/>
            <a:ext cx="5534077" cy="4360322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92665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282830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233286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182288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0315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623985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82290" y="996365"/>
            <a:ext cx="363103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282832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233288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182290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233287" y="996365"/>
            <a:ext cx="3623985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4760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623986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82288" y="1365166"/>
            <a:ext cx="3631039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282830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233286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182288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233287" y="1365166"/>
            <a:ext cx="3623986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0350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6670" y="1000162"/>
            <a:ext cx="7942930" cy="5095837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53153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848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13028" y="999674"/>
            <a:ext cx="3797971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44073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07016" y="999674"/>
            <a:ext cx="3803983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06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99712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197180" y="999540"/>
            <a:ext cx="5619836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0399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7110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6198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2630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289410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9410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ysClr val="windowText" lastClr="000000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9410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ysClr val="windowText" lastClr="000000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1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104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7427" y="1060591"/>
            <a:ext cx="1142130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390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665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97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/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t>Click to add</a:t>
            </a:r>
            <a:br>
              <a:rPr lang="en-US"/>
            </a:br>
            <a:r>
              <a:rPr lang="en-US"/>
              <a:t>two</a:t>
            </a:r>
            <a:r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389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3049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905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952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05643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95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9839" y="2743510"/>
            <a:ext cx="5630583" cy="1485280"/>
          </a:xfrm>
        </p:spPr>
        <p:txBody>
          <a:bodyPr anchor="t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  <a:br>
              <a:rPr lang="en-US" dirty="0"/>
            </a:br>
            <a:r>
              <a:rPr lang="en-US" dirty="0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61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3934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1798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073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990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92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2475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898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 Regular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  <a:latin typeface="Metric Regular" panose="020B0503030202060203" pitchFamily="34" charset="0"/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619396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363331"/>
            <a:ext cx="11430000" cy="4732669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249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752066"/>
            <a:ext cx="11430000" cy="4343934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89696" y="1369346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514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286BD63D-4A32-4F2C-BD30-FC5897F2C9E5}"/>
              </a:ext>
            </a:extLst>
          </p:cNvPr>
          <p:cNvSpPr txBox="1">
            <a:spLocks/>
          </p:cNvSpPr>
          <p:nvPr userDrawn="1"/>
        </p:nvSpPr>
        <p:spPr>
          <a:xfrm>
            <a:off x="7088056" y="6319780"/>
            <a:ext cx="4114800" cy="220717"/>
          </a:xfrm>
          <a:prstGeom prst="rect">
            <a:avLst/>
          </a:prstGeom>
        </p:spPr>
        <p:txBody>
          <a:bodyPr vert="horz" lIns="91416" tIns="45708" rIns="91416" bIns="45708" rtlCol="0" anchor="t"/>
          <a:lstStyle>
            <a:defPPr>
              <a:defRPr lang="en-US"/>
            </a:defPPr>
            <a:lvl1pPr marL="0" algn="r" defTabSz="914400" rtl="0" eaLnBrk="1" latinLnBrk="0" hangingPunct="1">
              <a:lnSpc>
                <a:spcPct val="90000"/>
              </a:lnSpc>
              <a:defRPr sz="1200" kern="1200" cap="all" baseline="0">
                <a:solidFill>
                  <a:schemeClr val="bg2"/>
                </a:solidFill>
                <a:latin typeface="MetricHPE Light" panose="020B030303020206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</p:spTree>
    <p:extLst>
      <p:ext uri="{BB962C8B-B14F-4D97-AF65-F5344CB8AC3E}">
        <p14:creationId xmlns:p14="http://schemas.microsoft.com/office/powerpoint/2010/main" val="2174114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184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758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1002" y="521016"/>
            <a:ext cx="6143922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 dirty="0"/>
              <a:t>Click to add thank you messag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3528820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Speaker contact information</a:t>
            </a:r>
            <a:endParaRPr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4222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4866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3937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1205694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8035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54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535898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252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8563760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435693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919691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42550438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826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7029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822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929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089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2262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955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271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319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405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428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32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 Regular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/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  <a:latin typeface="Metric Regular" panose="020B0503030202060203" pitchFamily="34" charset="0"/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78951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859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6711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946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0964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482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78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765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47024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6869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79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/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71715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2" y="2209800"/>
            <a:ext cx="10438607" cy="1905000"/>
          </a:xfrm>
        </p:spPr>
        <p:txBody>
          <a:bodyPr anchor="b"/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10440986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0328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vert="horz" wrap="none" lIns="0" tIns="0" rIns="0" bIns="0" rtlCol="0" anchor="b" anchorCtr="0"/>
          <a:lstStyle>
            <a:lvl1pPr>
              <a:defRPr lang="en-US" smtClean="0"/>
            </a:lvl1pPr>
          </a:lstStyle>
          <a:p>
            <a:r>
              <a:rPr dirty="0">
                <a:solidFill>
                  <a:srgbClr val="5F7A76"/>
                </a:solidFill>
              </a:rPr>
              <a:t>Slide </a:t>
            </a:r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r>
              <a:rPr lang="en-US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654012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vert="horz" wrap="none" lIns="0" tIns="0" rIns="0" bIns="0" rtlCol="0" anchor="b" anchorCtr="0"/>
          <a:lstStyle>
            <a:lvl1pPr>
              <a:defRPr lang="en-US" smtClean="0"/>
            </a:lvl1pPr>
          </a:lstStyle>
          <a:p>
            <a:r>
              <a:rPr dirty="0">
                <a:solidFill>
                  <a:srgbClr val="5F7A76"/>
                </a:solidFill>
              </a:rPr>
              <a:t>Slide </a:t>
            </a:r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r>
              <a:rPr lang="en-US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361919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vert="horz" wrap="none" lIns="0" tIns="0" rIns="0" bIns="0" rtlCol="0" anchor="b" anchorCtr="0"/>
          <a:lstStyle>
            <a:lvl1pPr>
              <a:defRPr lang="en-US" smtClean="0"/>
            </a:lvl1pPr>
          </a:lstStyle>
          <a:p>
            <a:r>
              <a:rPr dirty="0">
                <a:solidFill>
                  <a:srgbClr val="5F7A76"/>
                </a:solidFill>
              </a:rPr>
              <a:t>Slide </a:t>
            </a:r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r>
              <a:rPr lang="en-US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80256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1A98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82880" indent="-182880">
              <a:buClr>
                <a:schemeClr val="tx1">
                  <a:lumMod val="65000"/>
                  <a:lumOff val="35000"/>
                </a:schemeClr>
              </a:buClr>
              <a:defRPr lang="en-US" sz="1800" b="0" kern="1200" baseline="0" dirty="0" smtClean="0">
                <a:solidFill>
                  <a:srgbClr val="01A982"/>
                </a:solidFill>
                <a:latin typeface="+mn-lt"/>
                <a:ea typeface="+mn-ea"/>
                <a:cs typeface="+mn-cs"/>
              </a:defRPr>
            </a:lvl1pPr>
            <a:lvl2pPr>
              <a:buClr>
                <a:schemeClr val="tx1">
                  <a:lumMod val="65000"/>
                  <a:lumOff val="35000"/>
                </a:schemeClr>
              </a:buClr>
              <a:defRPr/>
            </a:lvl2pPr>
            <a:lvl3pPr>
              <a:buClr>
                <a:schemeClr val="tx1">
                  <a:lumMod val="65000"/>
                  <a:lumOff val="35000"/>
                </a:schemeClr>
              </a:buClr>
              <a:defRPr/>
            </a:lvl3pPr>
            <a:lvl4pPr>
              <a:buClr>
                <a:schemeClr val="tx1">
                  <a:lumMod val="65000"/>
                  <a:lumOff val="35000"/>
                </a:schemeClr>
              </a:buClr>
              <a:defRPr/>
            </a:lvl4pPr>
            <a:lvl5pPr>
              <a:buClr>
                <a:schemeClr val="tx1">
                  <a:lumMod val="65000"/>
                  <a:lumOff val="35000"/>
                </a:schemeClr>
              </a:buClr>
              <a:defRPr/>
            </a:lvl5pPr>
          </a:lstStyle>
          <a:p>
            <a:pPr marL="182880" lvl="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01A982"/>
              </a:buClr>
              <a:buFont typeface="Wingdings" panose="05000000000000000000" pitchFamily="2" charset="2"/>
              <a:buChar char="§"/>
            </a:pPr>
            <a:r>
              <a:rPr lang="en-US"/>
              <a:t>Click to edit Master text styles</a:t>
            </a:r>
          </a:p>
          <a:p>
            <a:pPr marL="182880" lvl="1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01A982"/>
              </a:buClr>
              <a:buFont typeface="Wingdings" panose="05000000000000000000" pitchFamily="2" charset="2"/>
              <a:buChar char="§"/>
            </a:pPr>
            <a:r>
              <a:rPr lang="en-US"/>
              <a:t>Second level</a:t>
            </a:r>
          </a:p>
          <a:p>
            <a:pPr marL="182880" lvl="2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01A982"/>
              </a:buClr>
              <a:buFont typeface="Wingdings" panose="05000000000000000000" pitchFamily="2" charset="2"/>
              <a:buChar char="§"/>
            </a:pPr>
            <a:r>
              <a:rPr lang="en-US"/>
              <a:t>Third level</a:t>
            </a:r>
          </a:p>
          <a:p>
            <a:pPr marL="182880" lvl="3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01A982"/>
              </a:buClr>
              <a:buFont typeface="Wingdings" panose="05000000000000000000" pitchFamily="2" charset="2"/>
              <a:buChar char="§"/>
            </a:pPr>
            <a:r>
              <a:rPr lang="en-US"/>
              <a:t>Fourth level</a:t>
            </a:r>
          </a:p>
          <a:p>
            <a:pPr marL="182880" lvl="4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01A982"/>
              </a:buClr>
              <a:buFont typeface="Wingdings" panose="05000000000000000000" pitchFamily="2" charset="2"/>
              <a:buChar char="§"/>
            </a:pPr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5F7A76"/>
                </a:solidFill>
              </a:rPr>
              <a:t>Slide </a:t>
            </a:r>
            <a:fld id="{B016F8AB-BCEA-4347-8BA6-BE776009BC89}" type="slidenum">
              <a:rPr smtClean="0"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r>
              <a:rPr lang="en-US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697624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vert="horz" wrap="none" lIns="0" tIns="0" rIns="0" bIns="0" rtlCol="0" anchor="b" anchorCtr="0"/>
          <a:lstStyle>
            <a:lvl1pPr>
              <a:defRPr lang="en-US" smtClean="0"/>
            </a:lvl1pPr>
          </a:lstStyle>
          <a:p>
            <a:r>
              <a:rPr dirty="0">
                <a:solidFill>
                  <a:srgbClr val="5F7A76"/>
                </a:solidFill>
              </a:rPr>
              <a:t>Slide </a:t>
            </a:r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r>
              <a:rPr lang="en-US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160756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 vert="horz" wrap="none" lIns="0" tIns="0" rIns="0" bIns="0" rtlCol="0" anchor="b" anchorCtr="0"/>
          <a:lstStyle>
            <a:lvl1pPr>
              <a:defRPr lang="en-US" smtClean="0"/>
            </a:lvl1pPr>
          </a:lstStyle>
          <a:p>
            <a:r>
              <a:rPr dirty="0">
                <a:solidFill>
                  <a:srgbClr val="5F7A76"/>
                </a:solidFill>
              </a:rPr>
              <a:t>Slide </a:t>
            </a:r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r>
              <a:rPr lang="en-US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95238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vert="horz" wrap="none" lIns="0" tIns="0" rIns="0" bIns="0" rtlCol="0" anchor="b" anchorCtr="0"/>
          <a:lstStyle>
            <a:lvl1pPr>
              <a:defRPr lang="en-US" smtClean="0"/>
            </a:lvl1pPr>
          </a:lstStyle>
          <a:p>
            <a:r>
              <a:rPr dirty="0">
                <a:solidFill>
                  <a:srgbClr val="5F7A76"/>
                </a:solidFill>
              </a:rPr>
              <a:t>Slide </a:t>
            </a:r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r>
              <a:rPr lang="en-US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84150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vert="horz" wrap="none" lIns="0" tIns="0" rIns="0" bIns="0" rtlCol="0" anchor="b" anchorCtr="0"/>
          <a:lstStyle>
            <a:lvl1pPr>
              <a:defRPr lang="en-US" smtClean="0"/>
            </a:lvl1pPr>
          </a:lstStyle>
          <a:p>
            <a:r>
              <a:rPr dirty="0">
                <a:solidFill>
                  <a:srgbClr val="5F7A76"/>
                </a:solidFill>
              </a:rPr>
              <a:t>Slide </a:t>
            </a:r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r>
              <a:rPr lang="en-US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645120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2108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/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6256419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29500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36202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894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486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855112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0657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9595829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3195245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08000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9992269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/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42263455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0785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2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53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099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564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5689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25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614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1341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7926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0.xml"/><Relationship Id="rId18" Type="http://schemas.openxmlformats.org/officeDocument/2006/relationships/slideLayout" Target="../slideLayouts/slideLayout255.xml"/><Relationship Id="rId26" Type="http://schemas.openxmlformats.org/officeDocument/2006/relationships/slideLayout" Target="../slideLayouts/slideLayout263.xml"/><Relationship Id="rId3" Type="http://schemas.openxmlformats.org/officeDocument/2006/relationships/slideLayout" Target="../slideLayouts/slideLayout240.xml"/><Relationship Id="rId21" Type="http://schemas.openxmlformats.org/officeDocument/2006/relationships/slideLayout" Target="../slideLayouts/slideLayout258.xml"/><Relationship Id="rId7" Type="http://schemas.openxmlformats.org/officeDocument/2006/relationships/slideLayout" Target="../slideLayouts/slideLayout244.xml"/><Relationship Id="rId12" Type="http://schemas.openxmlformats.org/officeDocument/2006/relationships/slideLayout" Target="../slideLayouts/slideLayout249.xml"/><Relationship Id="rId17" Type="http://schemas.openxmlformats.org/officeDocument/2006/relationships/slideLayout" Target="../slideLayouts/slideLayout254.xml"/><Relationship Id="rId25" Type="http://schemas.openxmlformats.org/officeDocument/2006/relationships/slideLayout" Target="../slideLayouts/slideLayout262.xml"/><Relationship Id="rId33" Type="http://schemas.openxmlformats.org/officeDocument/2006/relationships/theme" Target="../theme/theme10.xml"/><Relationship Id="rId2" Type="http://schemas.openxmlformats.org/officeDocument/2006/relationships/slideLayout" Target="../slideLayouts/slideLayout239.xml"/><Relationship Id="rId16" Type="http://schemas.openxmlformats.org/officeDocument/2006/relationships/slideLayout" Target="../slideLayouts/slideLayout253.xml"/><Relationship Id="rId20" Type="http://schemas.openxmlformats.org/officeDocument/2006/relationships/slideLayout" Target="../slideLayouts/slideLayout257.xml"/><Relationship Id="rId29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38.xml"/><Relationship Id="rId6" Type="http://schemas.openxmlformats.org/officeDocument/2006/relationships/slideLayout" Target="../slideLayouts/slideLayout243.xml"/><Relationship Id="rId11" Type="http://schemas.openxmlformats.org/officeDocument/2006/relationships/slideLayout" Target="../slideLayouts/slideLayout248.xml"/><Relationship Id="rId24" Type="http://schemas.openxmlformats.org/officeDocument/2006/relationships/slideLayout" Target="../slideLayouts/slideLayout261.xml"/><Relationship Id="rId32" Type="http://schemas.openxmlformats.org/officeDocument/2006/relationships/slideLayout" Target="../slideLayouts/slideLayout269.xml"/><Relationship Id="rId5" Type="http://schemas.openxmlformats.org/officeDocument/2006/relationships/slideLayout" Target="../slideLayouts/slideLayout242.xml"/><Relationship Id="rId15" Type="http://schemas.openxmlformats.org/officeDocument/2006/relationships/slideLayout" Target="../slideLayouts/slideLayout252.xml"/><Relationship Id="rId23" Type="http://schemas.openxmlformats.org/officeDocument/2006/relationships/slideLayout" Target="../slideLayouts/slideLayout260.xml"/><Relationship Id="rId28" Type="http://schemas.openxmlformats.org/officeDocument/2006/relationships/slideLayout" Target="../slideLayouts/slideLayout265.xml"/><Relationship Id="rId10" Type="http://schemas.openxmlformats.org/officeDocument/2006/relationships/slideLayout" Target="../slideLayouts/slideLayout247.xml"/><Relationship Id="rId19" Type="http://schemas.openxmlformats.org/officeDocument/2006/relationships/slideLayout" Target="../slideLayouts/slideLayout256.xml"/><Relationship Id="rId31" Type="http://schemas.openxmlformats.org/officeDocument/2006/relationships/slideLayout" Target="../slideLayouts/slideLayout268.xml"/><Relationship Id="rId4" Type="http://schemas.openxmlformats.org/officeDocument/2006/relationships/slideLayout" Target="../slideLayouts/slideLayout241.xml"/><Relationship Id="rId9" Type="http://schemas.openxmlformats.org/officeDocument/2006/relationships/slideLayout" Target="../slideLayouts/slideLayout246.xml"/><Relationship Id="rId14" Type="http://schemas.openxmlformats.org/officeDocument/2006/relationships/slideLayout" Target="../slideLayouts/slideLayout251.xml"/><Relationship Id="rId22" Type="http://schemas.openxmlformats.org/officeDocument/2006/relationships/slideLayout" Target="../slideLayouts/slideLayout259.xml"/><Relationship Id="rId27" Type="http://schemas.openxmlformats.org/officeDocument/2006/relationships/slideLayout" Target="../slideLayouts/slideLayout264.xml"/><Relationship Id="rId30" Type="http://schemas.openxmlformats.org/officeDocument/2006/relationships/slideLayout" Target="../slideLayouts/slideLayout267.xml"/><Relationship Id="rId8" Type="http://schemas.openxmlformats.org/officeDocument/2006/relationships/slideLayout" Target="../slideLayouts/slideLayout245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2.xml"/><Relationship Id="rId18" Type="http://schemas.openxmlformats.org/officeDocument/2006/relationships/slideLayout" Target="../slideLayouts/slideLayout287.xml"/><Relationship Id="rId26" Type="http://schemas.openxmlformats.org/officeDocument/2006/relationships/slideLayout" Target="../slideLayouts/slideLayout295.xml"/><Relationship Id="rId3" Type="http://schemas.openxmlformats.org/officeDocument/2006/relationships/slideLayout" Target="../slideLayouts/slideLayout272.xml"/><Relationship Id="rId21" Type="http://schemas.openxmlformats.org/officeDocument/2006/relationships/slideLayout" Target="../slideLayouts/slideLayout290.xml"/><Relationship Id="rId7" Type="http://schemas.openxmlformats.org/officeDocument/2006/relationships/slideLayout" Target="../slideLayouts/slideLayout276.xml"/><Relationship Id="rId12" Type="http://schemas.openxmlformats.org/officeDocument/2006/relationships/slideLayout" Target="../slideLayouts/slideLayout281.xml"/><Relationship Id="rId17" Type="http://schemas.openxmlformats.org/officeDocument/2006/relationships/slideLayout" Target="../slideLayouts/slideLayout286.xml"/><Relationship Id="rId25" Type="http://schemas.openxmlformats.org/officeDocument/2006/relationships/slideLayout" Target="../slideLayouts/slideLayout294.xml"/><Relationship Id="rId33" Type="http://schemas.openxmlformats.org/officeDocument/2006/relationships/theme" Target="../theme/theme11.xml"/><Relationship Id="rId2" Type="http://schemas.openxmlformats.org/officeDocument/2006/relationships/slideLayout" Target="../slideLayouts/slideLayout271.xml"/><Relationship Id="rId16" Type="http://schemas.openxmlformats.org/officeDocument/2006/relationships/slideLayout" Target="../slideLayouts/slideLayout285.xml"/><Relationship Id="rId20" Type="http://schemas.openxmlformats.org/officeDocument/2006/relationships/slideLayout" Target="../slideLayouts/slideLayout289.xml"/><Relationship Id="rId29" Type="http://schemas.openxmlformats.org/officeDocument/2006/relationships/slideLayout" Target="../slideLayouts/slideLayout298.xml"/><Relationship Id="rId1" Type="http://schemas.openxmlformats.org/officeDocument/2006/relationships/slideLayout" Target="../slideLayouts/slideLayout270.xml"/><Relationship Id="rId6" Type="http://schemas.openxmlformats.org/officeDocument/2006/relationships/slideLayout" Target="../slideLayouts/slideLayout275.xml"/><Relationship Id="rId11" Type="http://schemas.openxmlformats.org/officeDocument/2006/relationships/slideLayout" Target="../slideLayouts/slideLayout280.xml"/><Relationship Id="rId24" Type="http://schemas.openxmlformats.org/officeDocument/2006/relationships/slideLayout" Target="../slideLayouts/slideLayout293.xml"/><Relationship Id="rId32" Type="http://schemas.openxmlformats.org/officeDocument/2006/relationships/slideLayout" Target="../slideLayouts/slideLayout301.xml"/><Relationship Id="rId5" Type="http://schemas.openxmlformats.org/officeDocument/2006/relationships/slideLayout" Target="../slideLayouts/slideLayout274.xml"/><Relationship Id="rId15" Type="http://schemas.openxmlformats.org/officeDocument/2006/relationships/slideLayout" Target="../slideLayouts/slideLayout284.xml"/><Relationship Id="rId23" Type="http://schemas.openxmlformats.org/officeDocument/2006/relationships/slideLayout" Target="../slideLayouts/slideLayout292.xml"/><Relationship Id="rId28" Type="http://schemas.openxmlformats.org/officeDocument/2006/relationships/slideLayout" Target="../slideLayouts/slideLayout297.xml"/><Relationship Id="rId10" Type="http://schemas.openxmlformats.org/officeDocument/2006/relationships/slideLayout" Target="../slideLayouts/slideLayout279.xml"/><Relationship Id="rId19" Type="http://schemas.openxmlformats.org/officeDocument/2006/relationships/slideLayout" Target="../slideLayouts/slideLayout288.xml"/><Relationship Id="rId31" Type="http://schemas.openxmlformats.org/officeDocument/2006/relationships/slideLayout" Target="../slideLayouts/slideLayout300.xml"/><Relationship Id="rId4" Type="http://schemas.openxmlformats.org/officeDocument/2006/relationships/slideLayout" Target="../slideLayouts/slideLayout273.xml"/><Relationship Id="rId9" Type="http://schemas.openxmlformats.org/officeDocument/2006/relationships/slideLayout" Target="../slideLayouts/slideLayout278.xml"/><Relationship Id="rId14" Type="http://schemas.openxmlformats.org/officeDocument/2006/relationships/slideLayout" Target="../slideLayouts/slideLayout283.xml"/><Relationship Id="rId22" Type="http://schemas.openxmlformats.org/officeDocument/2006/relationships/slideLayout" Target="../slideLayouts/slideLayout291.xml"/><Relationship Id="rId27" Type="http://schemas.openxmlformats.org/officeDocument/2006/relationships/slideLayout" Target="../slideLayouts/slideLayout296.xml"/><Relationship Id="rId30" Type="http://schemas.openxmlformats.org/officeDocument/2006/relationships/slideLayout" Target="../slideLayouts/slideLayout299.xml"/><Relationship Id="rId8" Type="http://schemas.openxmlformats.org/officeDocument/2006/relationships/slideLayout" Target="../slideLayouts/slideLayout277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9.xml"/><Relationship Id="rId3" Type="http://schemas.openxmlformats.org/officeDocument/2006/relationships/slideLayout" Target="../slideLayouts/slideLayout304.xml"/><Relationship Id="rId7" Type="http://schemas.openxmlformats.org/officeDocument/2006/relationships/slideLayout" Target="../slideLayouts/slideLayout308.xml"/><Relationship Id="rId2" Type="http://schemas.openxmlformats.org/officeDocument/2006/relationships/slideLayout" Target="../slideLayouts/slideLayout303.xml"/><Relationship Id="rId1" Type="http://schemas.openxmlformats.org/officeDocument/2006/relationships/slideLayout" Target="../slideLayouts/slideLayout302.xml"/><Relationship Id="rId6" Type="http://schemas.openxmlformats.org/officeDocument/2006/relationships/slideLayout" Target="../slideLayouts/slideLayout307.xml"/><Relationship Id="rId11" Type="http://schemas.openxmlformats.org/officeDocument/2006/relationships/theme" Target="../theme/theme12.xml"/><Relationship Id="rId5" Type="http://schemas.openxmlformats.org/officeDocument/2006/relationships/slideLayout" Target="../slideLayouts/slideLayout306.xml"/><Relationship Id="rId10" Type="http://schemas.openxmlformats.org/officeDocument/2006/relationships/slideLayout" Target="../slideLayouts/slideLayout311.xml"/><Relationship Id="rId4" Type="http://schemas.openxmlformats.org/officeDocument/2006/relationships/slideLayout" Target="../slideLayouts/slideLayout305.xml"/><Relationship Id="rId9" Type="http://schemas.openxmlformats.org/officeDocument/2006/relationships/slideLayout" Target="../slideLayouts/slideLayout310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4.xml"/><Relationship Id="rId18" Type="http://schemas.openxmlformats.org/officeDocument/2006/relationships/slideLayout" Target="../slideLayouts/slideLayout329.xml"/><Relationship Id="rId26" Type="http://schemas.openxmlformats.org/officeDocument/2006/relationships/slideLayout" Target="../slideLayouts/slideLayout337.xml"/><Relationship Id="rId3" Type="http://schemas.openxmlformats.org/officeDocument/2006/relationships/slideLayout" Target="../slideLayouts/slideLayout314.xml"/><Relationship Id="rId21" Type="http://schemas.openxmlformats.org/officeDocument/2006/relationships/slideLayout" Target="../slideLayouts/slideLayout332.xml"/><Relationship Id="rId7" Type="http://schemas.openxmlformats.org/officeDocument/2006/relationships/slideLayout" Target="../slideLayouts/slideLayout318.xml"/><Relationship Id="rId12" Type="http://schemas.openxmlformats.org/officeDocument/2006/relationships/slideLayout" Target="../slideLayouts/slideLayout323.xml"/><Relationship Id="rId17" Type="http://schemas.openxmlformats.org/officeDocument/2006/relationships/slideLayout" Target="../slideLayouts/slideLayout328.xml"/><Relationship Id="rId25" Type="http://schemas.openxmlformats.org/officeDocument/2006/relationships/slideLayout" Target="../slideLayouts/slideLayout336.xml"/><Relationship Id="rId33" Type="http://schemas.openxmlformats.org/officeDocument/2006/relationships/theme" Target="../theme/theme13.xml"/><Relationship Id="rId2" Type="http://schemas.openxmlformats.org/officeDocument/2006/relationships/slideLayout" Target="../slideLayouts/slideLayout313.xml"/><Relationship Id="rId16" Type="http://schemas.openxmlformats.org/officeDocument/2006/relationships/slideLayout" Target="../slideLayouts/slideLayout327.xml"/><Relationship Id="rId20" Type="http://schemas.openxmlformats.org/officeDocument/2006/relationships/slideLayout" Target="../slideLayouts/slideLayout331.xml"/><Relationship Id="rId29" Type="http://schemas.openxmlformats.org/officeDocument/2006/relationships/slideLayout" Target="../slideLayouts/slideLayout340.xml"/><Relationship Id="rId1" Type="http://schemas.openxmlformats.org/officeDocument/2006/relationships/slideLayout" Target="../slideLayouts/slideLayout312.xml"/><Relationship Id="rId6" Type="http://schemas.openxmlformats.org/officeDocument/2006/relationships/slideLayout" Target="../slideLayouts/slideLayout317.xml"/><Relationship Id="rId11" Type="http://schemas.openxmlformats.org/officeDocument/2006/relationships/slideLayout" Target="../slideLayouts/slideLayout322.xml"/><Relationship Id="rId24" Type="http://schemas.openxmlformats.org/officeDocument/2006/relationships/slideLayout" Target="../slideLayouts/slideLayout335.xml"/><Relationship Id="rId32" Type="http://schemas.openxmlformats.org/officeDocument/2006/relationships/slideLayout" Target="../slideLayouts/slideLayout343.xml"/><Relationship Id="rId5" Type="http://schemas.openxmlformats.org/officeDocument/2006/relationships/slideLayout" Target="../slideLayouts/slideLayout316.xml"/><Relationship Id="rId15" Type="http://schemas.openxmlformats.org/officeDocument/2006/relationships/slideLayout" Target="../slideLayouts/slideLayout326.xml"/><Relationship Id="rId23" Type="http://schemas.openxmlformats.org/officeDocument/2006/relationships/slideLayout" Target="../slideLayouts/slideLayout334.xml"/><Relationship Id="rId28" Type="http://schemas.openxmlformats.org/officeDocument/2006/relationships/slideLayout" Target="../slideLayouts/slideLayout339.xml"/><Relationship Id="rId10" Type="http://schemas.openxmlformats.org/officeDocument/2006/relationships/slideLayout" Target="../slideLayouts/slideLayout321.xml"/><Relationship Id="rId19" Type="http://schemas.openxmlformats.org/officeDocument/2006/relationships/slideLayout" Target="../slideLayouts/slideLayout330.xml"/><Relationship Id="rId31" Type="http://schemas.openxmlformats.org/officeDocument/2006/relationships/slideLayout" Target="../slideLayouts/slideLayout342.xml"/><Relationship Id="rId4" Type="http://schemas.openxmlformats.org/officeDocument/2006/relationships/slideLayout" Target="../slideLayouts/slideLayout315.xml"/><Relationship Id="rId9" Type="http://schemas.openxmlformats.org/officeDocument/2006/relationships/slideLayout" Target="../slideLayouts/slideLayout320.xml"/><Relationship Id="rId14" Type="http://schemas.openxmlformats.org/officeDocument/2006/relationships/slideLayout" Target="../slideLayouts/slideLayout325.xml"/><Relationship Id="rId22" Type="http://schemas.openxmlformats.org/officeDocument/2006/relationships/slideLayout" Target="../slideLayouts/slideLayout333.xml"/><Relationship Id="rId27" Type="http://schemas.openxmlformats.org/officeDocument/2006/relationships/slideLayout" Target="../slideLayouts/slideLayout338.xml"/><Relationship Id="rId30" Type="http://schemas.openxmlformats.org/officeDocument/2006/relationships/slideLayout" Target="../slideLayouts/slideLayout341.xml"/><Relationship Id="rId8" Type="http://schemas.openxmlformats.org/officeDocument/2006/relationships/slideLayout" Target="../slideLayouts/slideLayout319.xml"/></Relationships>
</file>

<file path=ppt/slideMasters/_rels/slideMaster1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56.xml"/><Relationship Id="rId18" Type="http://schemas.openxmlformats.org/officeDocument/2006/relationships/slideLayout" Target="../slideLayouts/slideLayout361.xml"/><Relationship Id="rId26" Type="http://schemas.openxmlformats.org/officeDocument/2006/relationships/slideLayout" Target="../slideLayouts/slideLayout369.xml"/><Relationship Id="rId3" Type="http://schemas.openxmlformats.org/officeDocument/2006/relationships/slideLayout" Target="../slideLayouts/slideLayout346.xml"/><Relationship Id="rId21" Type="http://schemas.openxmlformats.org/officeDocument/2006/relationships/slideLayout" Target="../slideLayouts/slideLayout364.xml"/><Relationship Id="rId7" Type="http://schemas.openxmlformats.org/officeDocument/2006/relationships/slideLayout" Target="../slideLayouts/slideLayout350.xml"/><Relationship Id="rId12" Type="http://schemas.openxmlformats.org/officeDocument/2006/relationships/slideLayout" Target="../slideLayouts/slideLayout355.xml"/><Relationship Id="rId17" Type="http://schemas.openxmlformats.org/officeDocument/2006/relationships/slideLayout" Target="../slideLayouts/slideLayout360.xml"/><Relationship Id="rId25" Type="http://schemas.openxmlformats.org/officeDocument/2006/relationships/slideLayout" Target="../slideLayouts/slideLayout368.xml"/><Relationship Id="rId33" Type="http://schemas.openxmlformats.org/officeDocument/2006/relationships/theme" Target="../theme/theme14.xml"/><Relationship Id="rId2" Type="http://schemas.openxmlformats.org/officeDocument/2006/relationships/slideLayout" Target="../slideLayouts/slideLayout345.xml"/><Relationship Id="rId16" Type="http://schemas.openxmlformats.org/officeDocument/2006/relationships/slideLayout" Target="../slideLayouts/slideLayout359.xml"/><Relationship Id="rId20" Type="http://schemas.openxmlformats.org/officeDocument/2006/relationships/slideLayout" Target="../slideLayouts/slideLayout363.xml"/><Relationship Id="rId29" Type="http://schemas.openxmlformats.org/officeDocument/2006/relationships/slideLayout" Target="../slideLayouts/slideLayout372.xml"/><Relationship Id="rId1" Type="http://schemas.openxmlformats.org/officeDocument/2006/relationships/slideLayout" Target="../slideLayouts/slideLayout344.xml"/><Relationship Id="rId6" Type="http://schemas.openxmlformats.org/officeDocument/2006/relationships/slideLayout" Target="../slideLayouts/slideLayout349.xml"/><Relationship Id="rId11" Type="http://schemas.openxmlformats.org/officeDocument/2006/relationships/slideLayout" Target="../slideLayouts/slideLayout354.xml"/><Relationship Id="rId24" Type="http://schemas.openxmlformats.org/officeDocument/2006/relationships/slideLayout" Target="../slideLayouts/slideLayout367.xml"/><Relationship Id="rId32" Type="http://schemas.openxmlformats.org/officeDocument/2006/relationships/slideLayout" Target="../slideLayouts/slideLayout375.xml"/><Relationship Id="rId5" Type="http://schemas.openxmlformats.org/officeDocument/2006/relationships/slideLayout" Target="../slideLayouts/slideLayout348.xml"/><Relationship Id="rId15" Type="http://schemas.openxmlformats.org/officeDocument/2006/relationships/slideLayout" Target="../slideLayouts/slideLayout358.xml"/><Relationship Id="rId23" Type="http://schemas.openxmlformats.org/officeDocument/2006/relationships/slideLayout" Target="../slideLayouts/slideLayout366.xml"/><Relationship Id="rId28" Type="http://schemas.openxmlformats.org/officeDocument/2006/relationships/slideLayout" Target="../slideLayouts/slideLayout371.xml"/><Relationship Id="rId10" Type="http://schemas.openxmlformats.org/officeDocument/2006/relationships/slideLayout" Target="../slideLayouts/slideLayout353.xml"/><Relationship Id="rId19" Type="http://schemas.openxmlformats.org/officeDocument/2006/relationships/slideLayout" Target="../slideLayouts/slideLayout362.xml"/><Relationship Id="rId31" Type="http://schemas.openxmlformats.org/officeDocument/2006/relationships/slideLayout" Target="../slideLayouts/slideLayout374.xml"/><Relationship Id="rId4" Type="http://schemas.openxmlformats.org/officeDocument/2006/relationships/slideLayout" Target="../slideLayouts/slideLayout347.xml"/><Relationship Id="rId9" Type="http://schemas.openxmlformats.org/officeDocument/2006/relationships/slideLayout" Target="../slideLayouts/slideLayout352.xml"/><Relationship Id="rId14" Type="http://schemas.openxmlformats.org/officeDocument/2006/relationships/slideLayout" Target="../slideLayouts/slideLayout357.xml"/><Relationship Id="rId22" Type="http://schemas.openxmlformats.org/officeDocument/2006/relationships/slideLayout" Target="../slideLayouts/slideLayout365.xml"/><Relationship Id="rId27" Type="http://schemas.openxmlformats.org/officeDocument/2006/relationships/slideLayout" Target="../slideLayouts/slideLayout370.xml"/><Relationship Id="rId30" Type="http://schemas.openxmlformats.org/officeDocument/2006/relationships/slideLayout" Target="../slideLayouts/slideLayout373.xml"/><Relationship Id="rId8" Type="http://schemas.openxmlformats.org/officeDocument/2006/relationships/slideLayout" Target="../slideLayouts/slideLayout351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heme" Target="../theme/theme15.xml"/><Relationship Id="rId3" Type="http://schemas.openxmlformats.org/officeDocument/2006/relationships/slideLayout" Target="../slideLayouts/slideLayout378.xml"/><Relationship Id="rId7" Type="http://schemas.openxmlformats.org/officeDocument/2006/relationships/slideLayout" Target="../slideLayouts/slideLayout382.xml"/><Relationship Id="rId2" Type="http://schemas.openxmlformats.org/officeDocument/2006/relationships/slideLayout" Target="../slideLayouts/slideLayout377.xml"/><Relationship Id="rId1" Type="http://schemas.openxmlformats.org/officeDocument/2006/relationships/slideLayout" Target="../slideLayouts/slideLayout376.xml"/><Relationship Id="rId6" Type="http://schemas.openxmlformats.org/officeDocument/2006/relationships/slideLayout" Target="../slideLayouts/slideLayout381.xml"/><Relationship Id="rId5" Type="http://schemas.openxmlformats.org/officeDocument/2006/relationships/slideLayout" Target="../slideLayouts/slideLayout380.xml"/><Relationship Id="rId4" Type="http://schemas.openxmlformats.org/officeDocument/2006/relationships/slideLayout" Target="../slideLayouts/slideLayout379.xml"/></Relationships>
</file>

<file path=ppt/slideMasters/_rels/slideMaster1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95.xml"/><Relationship Id="rId18" Type="http://schemas.openxmlformats.org/officeDocument/2006/relationships/slideLayout" Target="../slideLayouts/slideLayout400.xml"/><Relationship Id="rId26" Type="http://schemas.openxmlformats.org/officeDocument/2006/relationships/slideLayout" Target="../slideLayouts/slideLayout408.xml"/><Relationship Id="rId39" Type="http://schemas.openxmlformats.org/officeDocument/2006/relationships/image" Target="../media/image5.png"/><Relationship Id="rId21" Type="http://schemas.openxmlformats.org/officeDocument/2006/relationships/slideLayout" Target="../slideLayouts/slideLayout403.xml"/><Relationship Id="rId34" Type="http://schemas.openxmlformats.org/officeDocument/2006/relationships/slideLayout" Target="../slideLayouts/slideLayout416.xml"/><Relationship Id="rId7" Type="http://schemas.openxmlformats.org/officeDocument/2006/relationships/slideLayout" Target="../slideLayouts/slideLayout389.xml"/><Relationship Id="rId12" Type="http://schemas.openxmlformats.org/officeDocument/2006/relationships/slideLayout" Target="../slideLayouts/slideLayout394.xml"/><Relationship Id="rId17" Type="http://schemas.openxmlformats.org/officeDocument/2006/relationships/slideLayout" Target="../slideLayouts/slideLayout399.xml"/><Relationship Id="rId25" Type="http://schemas.openxmlformats.org/officeDocument/2006/relationships/slideLayout" Target="../slideLayouts/slideLayout407.xml"/><Relationship Id="rId33" Type="http://schemas.openxmlformats.org/officeDocument/2006/relationships/slideLayout" Target="../slideLayouts/slideLayout415.xml"/><Relationship Id="rId38" Type="http://schemas.openxmlformats.org/officeDocument/2006/relationships/theme" Target="../theme/theme16.xml"/><Relationship Id="rId2" Type="http://schemas.openxmlformats.org/officeDocument/2006/relationships/slideLayout" Target="../slideLayouts/slideLayout384.xml"/><Relationship Id="rId16" Type="http://schemas.openxmlformats.org/officeDocument/2006/relationships/slideLayout" Target="../slideLayouts/slideLayout398.xml"/><Relationship Id="rId20" Type="http://schemas.openxmlformats.org/officeDocument/2006/relationships/slideLayout" Target="../slideLayouts/slideLayout402.xml"/><Relationship Id="rId29" Type="http://schemas.openxmlformats.org/officeDocument/2006/relationships/slideLayout" Target="../slideLayouts/slideLayout411.xml"/><Relationship Id="rId1" Type="http://schemas.openxmlformats.org/officeDocument/2006/relationships/slideLayout" Target="../slideLayouts/slideLayout383.xml"/><Relationship Id="rId6" Type="http://schemas.openxmlformats.org/officeDocument/2006/relationships/slideLayout" Target="../slideLayouts/slideLayout388.xml"/><Relationship Id="rId11" Type="http://schemas.openxmlformats.org/officeDocument/2006/relationships/slideLayout" Target="../slideLayouts/slideLayout393.xml"/><Relationship Id="rId24" Type="http://schemas.openxmlformats.org/officeDocument/2006/relationships/slideLayout" Target="../slideLayouts/slideLayout406.xml"/><Relationship Id="rId32" Type="http://schemas.openxmlformats.org/officeDocument/2006/relationships/slideLayout" Target="../slideLayouts/slideLayout414.xml"/><Relationship Id="rId37" Type="http://schemas.openxmlformats.org/officeDocument/2006/relationships/slideLayout" Target="../slideLayouts/slideLayout419.xml"/><Relationship Id="rId5" Type="http://schemas.openxmlformats.org/officeDocument/2006/relationships/slideLayout" Target="../slideLayouts/slideLayout387.xml"/><Relationship Id="rId15" Type="http://schemas.openxmlformats.org/officeDocument/2006/relationships/slideLayout" Target="../slideLayouts/slideLayout397.xml"/><Relationship Id="rId23" Type="http://schemas.openxmlformats.org/officeDocument/2006/relationships/slideLayout" Target="../slideLayouts/slideLayout405.xml"/><Relationship Id="rId28" Type="http://schemas.openxmlformats.org/officeDocument/2006/relationships/slideLayout" Target="../slideLayouts/slideLayout410.xml"/><Relationship Id="rId36" Type="http://schemas.openxmlformats.org/officeDocument/2006/relationships/slideLayout" Target="../slideLayouts/slideLayout418.xml"/><Relationship Id="rId10" Type="http://schemas.openxmlformats.org/officeDocument/2006/relationships/slideLayout" Target="../slideLayouts/slideLayout392.xml"/><Relationship Id="rId19" Type="http://schemas.openxmlformats.org/officeDocument/2006/relationships/slideLayout" Target="../slideLayouts/slideLayout401.xml"/><Relationship Id="rId31" Type="http://schemas.openxmlformats.org/officeDocument/2006/relationships/slideLayout" Target="../slideLayouts/slideLayout413.xml"/><Relationship Id="rId4" Type="http://schemas.openxmlformats.org/officeDocument/2006/relationships/slideLayout" Target="../slideLayouts/slideLayout386.xml"/><Relationship Id="rId9" Type="http://schemas.openxmlformats.org/officeDocument/2006/relationships/slideLayout" Target="../slideLayouts/slideLayout391.xml"/><Relationship Id="rId14" Type="http://schemas.openxmlformats.org/officeDocument/2006/relationships/slideLayout" Target="../slideLayouts/slideLayout396.xml"/><Relationship Id="rId22" Type="http://schemas.openxmlformats.org/officeDocument/2006/relationships/slideLayout" Target="../slideLayouts/slideLayout404.xml"/><Relationship Id="rId27" Type="http://schemas.openxmlformats.org/officeDocument/2006/relationships/slideLayout" Target="../slideLayouts/slideLayout409.xml"/><Relationship Id="rId30" Type="http://schemas.openxmlformats.org/officeDocument/2006/relationships/slideLayout" Target="../slideLayouts/slideLayout412.xml"/><Relationship Id="rId35" Type="http://schemas.openxmlformats.org/officeDocument/2006/relationships/slideLayout" Target="../slideLayouts/slideLayout417.xml"/><Relationship Id="rId8" Type="http://schemas.openxmlformats.org/officeDocument/2006/relationships/slideLayout" Target="../slideLayouts/slideLayout390.xml"/><Relationship Id="rId3" Type="http://schemas.openxmlformats.org/officeDocument/2006/relationships/slideLayout" Target="../slideLayouts/slideLayout385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7.xml"/><Relationship Id="rId13" Type="http://schemas.openxmlformats.org/officeDocument/2006/relationships/slideLayout" Target="../slideLayouts/slideLayout432.xml"/><Relationship Id="rId18" Type="http://schemas.openxmlformats.org/officeDocument/2006/relationships/slideLayout" Target="../slideLayouts/slideLayout437.xml"/><Relationship Id="rId3" Type="http://schemas.openxmlformats.org/officeDocument/2006/relationships/slideLayout" Target="../slideLayouts/slideLayout422.xml"/><Relationship Id="rId21" Type="http://schemas.openxmlformats.org/officeDocument/2006/relationships/slideLayout" Target="../slideLayouts/slideLayout440.xml"/><Relationship Id="rId7" Type="http://schemas.openxmlformats.org/officeDocument/2006/relationships/slideLayout" Target="../slideLayouts/slideLayout426.xml"/><Relationship Id="rId12" Type="http://schemas.openxmlformats.org/officeDocument/2006/relationships/slideLayout" Target="../slideLayouts/slideLayout431.xml"/><Relationship Id="rId17" Type="http://schemas.openxmlformats.org/officeDocument/2006/relationships/slideLayout" Target="../slideLayouts/slideLayout436.xml"/><Relationship Id="rId2" Type="http://schemas.openxmlformats.org/officeDocument/2006/relationships/slideLayout" Target="../slideLayouts/slideLayout421.xml"/><Relationship Id="rId16" Type="http://schemas.openxmlformats.org/officeDocument/2006/relationships/slideLayout" Target="../slideLayouts/slideLayout435.xml"/><Relationship Id="rId20" Type="http://schemas.openxmlformats.org/officeDocument/2006/relationships/slideLayout" Target="../slideLayouts/slideLayout439.xml"/><Relationship Id="rId1" Type="http://schemas.openxmlformats.org/officeDocument/2006/relationships/slideLayout" Target="../slideLayouts/slideLayout420.xml"/><Relationship Id="rId6" Type="http://schemas.openxmlformats.org/officeDocument/2006/relationships/slideLayout" Target="../slideLayouts/slideLayout425.xml"/><Relationship Id="rId11" Type="http://schemas.openxmlformats.org/officeDocument/2006/relationships/slideLayout" Target="../slideLayouts/slideLayout430.xml"/><Relationship Id="rId24" Type="http://schemas.openxmlformats.org/officeDocument/2006/relationships/image" Target="../media/image9.png"/><Relationship Id="rId5" Type="http://schemas.openxmlformats.org/officeDocument/2006/relationships/slideLayout" Target="../slideLayouts/slideLayout424.xml"/><Relationship Id="rId15" Type="http://schemas.openxmlformats.org/officeDocument/2006/relationships/slideLayout" Target="../slideLayouts/slideLayout434.xml"/><Relationship Id="rId23" Type="http://schemas.openxmlformats.org/officeDocument/2006/relationships/image" Target="../media/image8.jpg"/><Relationship Id="rId10" Type="http://schemas.openxmlformats.org/officeDocument/2006/relationships/slideLayout" Target="../slideLayouts/slideLayout429.xml"/><Relationship Id="rId19" Type="http://schemas.openxmlformats.org/officeDocument/2006/relationships/slideLayout" Target="../slideLayouts/slideLayout438.xml"/><Relationship Id="rId4" Type="http://schemas.openxmlformats.org/officeDocument/2006/relationships/slideLayout" Target="../slideLayouts/slideLayout423.xml"/><Relationship Id="rId9" Type="http://schemas.openxmlformats.org/officeDocument/2006/relationships/slideLayout" Target="../slideLayouts/slideLayout428.xml"/><Relationship Id="rId14" Type="http://schemas.openxmlformats.org/officeDocument/2006/relationships/slideLayout" Target="../slideLayouts/slideLayout433.xml"/><Relationship Id="rId22" Type="http://schemas.openxmlformats.org/officeDocument/2006/relationships/theme" Target="../theme/theme1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5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37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36.xml"/><Relationship Id="rId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68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8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5" Type="http://schemas.openxmlformats.org/officeDocument/2006/relationships/slideLayout" Target="../slideLayouts/slideLayout74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slideLayout" Target="../slideLayouts/slideLayout91.xml"/><Relationship Id="rId18" Type="http://schemas.openxmlformats.org/officeDocument/2006/relationships/slideLayout" Target="../slideLayouts/slideLayout96.xml"/><Relationship Id="rId26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81.xml"/><Relationship Id="rId21" Type="http://schemas.openxmlformats.org/officeDocument/2006/relationships/slideLayout" Target="../slideLayouts/slideLayout99.xml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5.xml"/><Relationship Id="rId25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20" Type="http://schemas.openxmlformats.org/officeDocument/2006/relationships/slideLayout" Target="../slideLayouts/slideLayout98.xml"/><Relationship Id="rId29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24" Type="http://schemas.openxmlformats.org/officeDocument/2006/relationships/slideLayout" Target="../slideLayouts/slideLayout102.xml"/><Relationship Id="rId32" Type="http://schemas.openxmlformats.org/officeDocument/2006/relationships/theme" Target="../theme/theme5.xml"/><Relationship Id="rId5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3.xml"/><Relationship Id="rId23" Type="http://schemas.openxmlformats.org/officeDocument/2006/relationships/slideLayout" Target="../slideLayouts/slideLayout101.xml"/><Relationship Id="rId28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88.xml"/><Relationship Id="rId19" Type="http://schemas.openxmlformats.org/officeDocument/2006/relationships/slideLayout" Target="../slideLayouts/slideLayout97.xml"/><Relationship Id="rId31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Relationship Id="rId22" Type="http://schemas.openxmlformats.org/officeDocument/2006/relationships/slideLayout" Target="../slideLayouts/slideLayout100.xml"/><Relationship Id="rId27" Type="http://schemas.openxmlformats.org/officeDocument/2006/relationships/slideLayout" Target="../slideLayouts/slideLayout105.xml"/><Relationship Id="rId30" Type="http://schemas.openxmlformats.org/officeDocument/2006/relationships/slideLayout" Target="../slideLayouts/slideLayout108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2.xml"/><Relationship Id="rId18" Type="http://schemas.openxmlformats.org/officeDocument/2006/relationships/slideLayout" Target="../slideLayouts/slideLayout127.xml"/><Relationship Id="rId26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12.xml"/><Relationship Id="rId21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25" Type="http://schemas.openxmlformats.org/officeDocument/2006/relationships/slideLayout" Target="../slideLayouts/slideLayout134.xml"/><Relationship Id="rId33" Type="http://schemas.openxmlformats.org/officeDocument/2006/relationships/theme" Target="../theme/theme6.xml"/><Relationship Id="rId2" Type="http://schemas.openxmlformats.org/officeDocument/2006/relationships/slideLayout" Target="../slideLayouts/slideLayout111.xml"/><Relationship Id="rId16" Type="http://schemas.openxmlformats.org/officeDocument/2006/relationships/slideLayout" Target="../slideLayouts/slideLayout125.xml"/><Relationship Id="rId20" Type="http://schemas.openxmlformats.org/officeDocument/2006/relationships/slideLayout" Target="../slideLayouts/slideLayout129.xml"/><Relationship Id="rId29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24" Type="http://schemas.openxmlformats.org/officeDocument/2006/relationships/slideLayout" Target="../slideLayouts/slideLayout133.xml"/><Relationship Id="rId32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14.xml"/><Relationship Id="rId15" Type="http://schemas.openxmlformats.org/officeDocument/2006/relationships/slideLayout" Target="../slideLayouts/slideLayout124.xml"/><Relationship Id="rId23" Type="http://schemas.openxmlformats.org/officeDocument/2006/relationships/slideLayout" Target="../slideLayouts/slideLayout132.xml"/><Relationship Id="rId28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19.xml"/><Relationship Id="rId19" Type="http://schemas.openxmlformats.org/officeDocument/2006/relationships/slideLayout" Target="../slideLayouts/slideLayout128.xml"/><Relationship Id="rId31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slideLayout" Target="../slideLayouts/slideLayout123.xml"/><Relationship Id="rId22" Type="http://schemas.openxmlformats.org/officeDocument/2006/relationships/slideLayout" Target="../slideLayouts/slideLayout131.xml"/><Relationship Id="rId27" Type="http://schemas.openxmlformats.org/officeDocument/2006/relationships/slideLayout" Target="../slideLayouts/slideLayout136.xml"/><Relationship Id="rId30" Type="http://schemas.openxmlformats.org/officeDocument/2006/relationships/slideLayout" Target="../slideLayouts/slideLayout139.xml"/><Relationship Id="rId8" Type="http://schemas.openxmlformats.org/officeDocument/2006/relationships/slideLayout" Target="../slideLayouts/slideLayout117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4.xml"/><Relationship Id="rId18" Type="http://schemas.openxmlformats.org/officeDocument/2006/relationships/slideLayout" Target="../slideLayouts/slideLayout159.xml"/><Relationship Id="rId26" Type="http://schemas.openxmlformats.org/officeDocument/2006/relationships/slideLayout" Target="../slideLayouts/slideLayout167.xml"/><Relationship Id="rId3" Type="http://schemas.openxmlformats.org/officeDocument/2006/relationships/slideLayout" Target="../slideLayouts/slideLayout144.xml"/><Relationship Id="rId21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48.xml"/><Relationship Id="rId12" Type="http://schemas.openxmlformats.org/officeDocument/2006/relationships/slideLayout" Target="../slideLayouts/slideLayout153.xml"/><Relationship Id="rId17" Type="http://schemas.openxmlformats.org/officeDocument/2006/relationships/slideLayout" Target="../slideLayouts/slideLayout158.xml"/><Relationship Id="rId25" Type="http://schemas.openxmlformats.org/officeDocument/2006/relationships/slideLayout" Target="../slideLayouts/slideLayout166.xml"/><Relationship Id="rId33" Type="http://schemas.openxmlformats.org/officeDocument/2006/relationships/theme" Target="../theme/theme7.xml"/><Relationship Id="rId2" Type="http://schemas.openxmlformats.org/officeDocument/2006/relationships/slideLayout" Target="../slideLayouts/slideLayout143.xml"/><Relationship Id="rId16" Type="http://schemas.openxmlformats.org/officeDocument/2006/relationships/slideLayout" Target="../slideLayouts/slideLayout157.xml"/><Relationship Id="rId20" Type="http://schemas.openxmlformats.org/officeDocument/2006/relationships/slideLayout" Target="../slideLayouts/slideLayout161.xml"/><Relationship Id="rId29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42.xml"/><Relationship Id="rId6" Type="http://schemas.openxmlformats.org/officeDocument/2006/relationships/slideLayout" Target="../slideLayouts/slideLayout147.xml"/><Relationship Id="rId11" Type="http://schemas.openxmlformats.org/officeDocument/2006/relationships/slideLayout" Target="../slideLayouts/slideLayout152.xml"/><Relationship Id="rId24" Type="http://schemas.openxmlformats.org/officeDocument/2006/relationships/slideLayout" Target="../slideLayouts/slideLayout165.xml"/><Relationship Id="rId32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46.xml"/><Relationship Id="rId15" Type="http://schemas.openxmlformats.org/officeDocument/2006/relationships/slideLayout" Target="../slideLayouts/slideLayout156.xml"/><Relationship Id="rId23" Type="http://schemas.openxmlformats.org/officeDocument/2006/relationships/slideLayout" Target="../slideLayouts/slideLayout164.xml"/><Relationship Id="rId28" Type="http://schemas.openxmlformats.org/officeDocument/2006/relationships/slideLayout" Target="../slideLayouts/slideLayout169.xml"/><Relationship Id="rId10" Type="http://schemas.openxmlformats.org/officeDocument/2006/relationships/slideLayout" Target="../slideLayouts/slideLayout151.xml"/><Relationship Id="rId19" Type="http://schemas.openxmlformats.org/officeDocument/2006/relationships/slideLayout" Target="../slideLayouts/slideLayout160.xml"/><Relationship Id="rId31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45.xml"/><Relationship Id="rId9" Type="http://schemas.openxmlformats.org/officeDocument/2006/relationships/slideLayout" Target="../slideLayouts/slideLayout150.xml"/><Relationship Id="rId14" Type="http://schemas.openxmlformats.org/officeDocument/2006/relationships/slideLayout" Target="../slideLayouts/slideLayout155.xml"/><Relationship Id="rId22" Type="http://schemas.openxmlformats.org/officeDocument/2006/relationships/slideLayout" Target="../slideLayouts/slideLayout163.xml"/><Relationship Id="rId27" Type="http://schemas.openxmlformats.org/officeDocument/2006/relationships/slideLayout" Target="../slideLayouts/slideLayout168.xml"/><Relationship Id="rId30" Type="http://schemas.openxmlformats.org/officeDocument/2006/relationships/slideLayout" Target="../slideLayouts/slideLayout171.xml"/><Relationship Id="rId8" Type="http://schemas.openxmlformats.org/officeDocument/2006/relationships/slideLayout" Target="../slideLayouts/slideLayout149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6.xml"/><Relationship Id="rId18" Type="http://schemas.openxmlformats.org/officeDocument/2006/relationships/slideLayout" Target="../slideLayouts/slideLayout191.xml"/><Relationship Id="rId26" Type="http://schemas.openxmlformats.org/officeDocument/2006/relationships/slideLayout" Target="../slideLayouts/slideLayout199.xml"/><Relationship Id="rId3" Type="http://schemas.openxmlformats.org/officeDocument/2006/relationships/slideLayout" Target="../slideLayouts/slideLayout176.xml"/><Relationship Id="rId21" Type="http://schemas.openxmlformats.org/officeDocument/2006/relationships/slideLayout" Target="../slideLayouts/slideLayout194.xml"/><Relationship Id="rId7" Type="http://schemas.openxmlformats.org/officeDocument/2006/relationships/slideLayout" Target="../slideLayouts/slideLayout180.xml"/><Relationship Id="rId12" Type="http://schemas.openxmlformats.org/officeDocument/2006/relationships/slideLayout" Target="../slideLayouts/slideLayout185.xml"/><Relationship Id="rId17" Type="http://schemas.openxmlformats.org/officeDocument/2006/relationships/slideLayout" Target="../slideLayouts/slideLayout190.xml"/><Relationship Id="rId25" Type="http://schemas.openxmlformats.org/officeDocument/2006/relationships/slideLayout" Target="../slideLayouts/slideLayout198.xml"/><Relationship Id="rId33" Type="http://schemas.openxmlformats.org/officeDocument/2006/relationships/theme" Target="../theme/theme8.xml"/><Relationship Id="rId2" Type="http://schemas.openxmlformats.org/officeDocument/2006/relationships/slideLayout" Target="../slideLayouts/slideLayout175.xml"/><Relationship Id="rId16" Type="http://schemas.openxmlformats.org/officeDocument/2006/relationships/slideLayout" Target="../slideLayouts/slideLayout189.xml"/><Relationship Id="rId20" Type="http://schemas.openxmlformats.org/officeDocument/2006/relationships/slideLayout" Target="../slideLayouts/slideLayout193.xml"/><Relationship Id="rId29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24" Type="http://schemas.openxmlformats.org/officeDocument/2006/relationships/slideLayout" Target="../slideLayouts/slideLayout197.xml"/><Relationship Id="rId32" Type="http://schemas.openxmlformats.org/officeDocument/2006/relationships/slideLayout" Target="../slideLayouts/slideLayout205.xml"/><Relationship Id="rId5" Type="http://schemas.openxmlformats.org/officeDocument/2006/relationships/slideLayout" Target="../slideLayouts/slideLayout178.xml"/><Relationship Id="rId15" Type="http://schemas.openxmlformats.org/officeDocument/2006/relationships/slideLayout" Target="../slideLayouts/slideLayout188.xml"/><Relationship Id="rId23" Type="http://schemas.openxmlformats.org/officeDocument/2006/relationships/slideLayout" Target="../slideLayouts/slideLayout196.xml"/><Relationship Id="rId28" Type="http://schemas.openxmlformats.org/officeDocument/2006/relationships/slideLayout" Target="../slideLayouts/slideLayout201.xml"/><Relationship Id="rId10" Type="http://schemas.openxmlformats.org/officeDocument/2006/relationships/slideLayout" Target="../slideLayouts/slideLayout183.xml"/><Relationship Id="rId19" Type="http://schemas.openxmlformats.org/officeDocument/2006/relationships/slideLayout" Target="../slideLayouts/slideLayout192.xml"/><Relationship Id="rId31" Type="http://schemas.openxmlformats.org/officeDocument/2006/relationships/slideLayout" Target="../slideLayouts/slideLayout204.xml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Relationship Id="rId14" Type="http://schemas.openxmlformats.org/officeDocument/2006/relationships/slideLayout" Target="../slideLayouts/slideLayout187.xml"/><Relationship Id="rId22" Type="http://schemas.openxmlformats.org/officeDocument/2006/relationships/slideLayout" Target="../slideLayouts/slideLayout195.xml"/><Relationship Id="rId27" Type="http://schemas.openxmlformats.org/officeDocument/2006/relationships/slideLayout" Target="../slideLayouts/slideLayout200.xml"/><Relationship Id="rId30" Type="http://schemas.openxmlformats.org/officeDocument/2006/relationships/slideLayout" Target="../slideLayouts/slideLayout203.xml"/><Relationship Id="rId8" Type="http://schemas.openxmlformats.org/officeDocument/2006/relationships/slideLayout" Target="../slideLayouts/slideLayout181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8.xml"/><Relationship Id="rId18" Type="http://schemas.openxmlformats.org/officeDocument/2006/relationships/slideLayout" Target="../slideLayouts/slideLayout223.xml"/><Relationship Id="rId26" Type="http://schemas.openxmlformats.org/officeDocument/2006/relationships/slideLayout" Target="../slideLayouts/slideLayout231.xml"/><Relationship Id="rId3" Type="http://schemas.openxmlformats.org/officeDocument/2006/relationships/slideLayout" Target="../slideLayouts/slideLayout208.xml"/><Relationship Id="rId21" Type="http://schemas.openxmlformats.org/officeDocument/2006/relationships/slideLayout" Target="../slideLayouts/slideLayout226.xml"/><Relationship Id="rId7" Type="http://schemas.openxmlformats.org/officeDocument/2006/relationships/slideLayout" Target="../slideLayouts/slideLayout212.xml"/><Relationship Id="rId12" Type="http://schemas.openxmlformats.org/officeDocument/2006/relationships/slideLayout" Target="../slideLayouts/slideLayout217.xml"/><Relationship Id="rId17" Type="http://schemas.openxmlformats.org/officeDocument/2006/relationships/slideLayout" Target="../slideLayouts/slideLayout222.xml"/><Relationship Id="rId25" Type="http://schemas.openxmlformats.org/officeDocument/2006/relationships/slideLayout" Target="../slideLayouts/slideLayout230.xml"/><Relationship Id="rId33" Type="http://schemas.openxmlformats.org/officeDocument/2006/relationships/theme" Target="../theme/theme9.xml"/><Relationship Id="rId2" Type="http://schemas.openxmlformats.org/officeDocument/2006/relationships/slideLayout" Target="../slideLayouts/slideLayout207.xml"/><Relationship Id="rId16" Type="http://schemas.openxmlformats.org/officeDocument/2006/relationships/slideLayout" Target="../slideLayouts/slideLayout221.xml"/><Relationship Id="rId20" Type="http://schemas.openxmlformats.org/officeDocument/2006/relationships/slideLayout" Target="../slideLayouts/slideLayout225.xml"/><Relationship Id="rId29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06.xml"/><Relationship Id="rId6" Type="http://schemas.openxmlformats.org/officeDocument/2006/relationships/slideLayout" Target="../slideLayouts/slideLayout211.xml"/><Relationship Id="rId11" Type="http://schemas.openxmlformats.org/officeDocument/2006/relationships/slideLayout" Target="../slideLayouts/slideLayout216.xml"/><Relationship Id="rId24" Type="http://schemas.openxmlformats.org/officeDocument/2006/relationships/slideLayout" Target="../slideLayouts/slideLayout229.xml"/><Relationship Id="rId32" Type="http://schemas.openxmlformats.org/officeDocument/2006/relationships/slideLayout" Target="../slideLayouts/slideLayout237.xml"/><Relationship Id="rId5" Type="http://schemas.openxmlformats.org/officeDocument/2006/relationships/slideLayout" Target="../slideLayouts/slideLayout210.xml"/><Relationship Id="rId15" Type="http://schemas.openxmlformats.org/officeDocument/2006/relationships/slideLayout" Target="../slideLayouts/slideLayout220.xml"/><Relationship Id="rId23" Type="http://schemas.openxmlformats.org/officeDocument/2006/relationships/slideLayout" Target="../slideLayouts/slideLayout228.xml"/><Relationship Id="rId28" Type="http://schemas.openxmlformats.org/officeDocument/2006/relationships/slideLayout" Target="../slideLayouts/slideLayout233.xml"/><Relationship Id="rId10" Type="http://schemas.openxmlformats.org/officeDocument/2006/relationships/slideLayout" Target="../slideLayouts/slideLayout215.xml"/><Relationship Id="rId19" Type="http://schemas.openxmlformats.org/officeDocument/2006/relationships/slideLayout" Target="../slideLayouts/slideLayout224.xml"/><Relationship Id="rId31" Type="http://schemas.openxmlformats.org/officeDocument/2006/relationships/slideLayout" Target="../slideLayouts/slideLayout236.xml"/><Relationship Id="rId4" Type="http://schemas.openxmlformats.org/officeDocument/2006/relationships/slideLayout" Target="../slideLayouts/slideLayout209.xml"/><Relationship Id="rId9" Type="http://schemas.openxmlformats.org/officeDocument/2006/relationships/slideLayout" Target="../slideLayouts/slideLayout214.xml"/><Relationship Id="rId14" Type="http://schemas.openxmlformats.org/officeDocument/2006/relationships/slideLayout" Target="../slideLayouts/slideLayout219.xml"/><Relationship Id="rId22" Type="http://schemas.openxmlformats.org/officeDocument/2006/relationships/slideLayout" Target="../slideLayouts/slideLayout227.xml"/><Relationship Id="rId27" Type="http://schemas.openxmlformats.org/officeDocument/2006/relationships/slideLayout" Target="../slideLayouts/slideLayout232.xml"/><Relationship Id="rId30" Type="http://schemas.openxmlformats.org/officeDocument/2006/relationships/slideLayout" Target="../slideLayouts/slideLayout235.xml"/><Relationship Id="rId8" Type="http://schemas.openxmlformats.org/officeDocument/2006/relationships/slideLayout" Target="../slideLayouts/slideLayout2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  <a:latin typeface="Metric Regular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1683658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60" r:id="rId3"/>
    <p:sldLayoutId id="2147483651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50" r:id="rId12"/>
    <p:sldLayoutId id="2147483668" r:id="rId13"/>
    <p:sldLayoutId id="2147483669" r:id="rId14"/>
    <p:sldLayoutId id="2147483654" r:id="rId15"/>
    <p:sldLayoutId id="2147483679" r:id="rId16"/>
    <p:sldLayoutId id="2147483655" r:id="rId17"/>
    <p:sldLayoutId id="2147483652" r:id="rId18"/>
    <p:sldLayoutId id="2147483653" r:id="rId19"/>
    <p:sldLayoutId id="2147483670" r:id="rId20"/>
    <p:sldLayoutId id="2147483671" r:id="rId21"/>
    <p:sldLayoutId id="2147483672" r:id="rId22"/>
    <p:sldLayoutId id="2147483673" r:id="rId23"/>
    <p:sldLayoutId id="2147483656" r:id="rId24"/>
    <p:sldLayoutId id="2147483674" r:id="rId25"/>
    <p:sldLayoutId id="2147483657" r:id="rId26"/>
    <p:sldLayoutId id="2147483675" r:id="rId27"/>
    <p:sldLayoutId id="2147483676" r:id="rId28"/>
    <p:sldLayoutId id="2147483677" r:id="rId29"/>
    <p:sldLayoutId id="2147483678" r:id="rId30"/>
    <p:sldLayoutId id="2147483717" r:id="rId31"/>
    <p:sldLayoutId id="2147483721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01A982"/>
          </a:solidFill>
          <a:latin typeface="Metric Bold" panose="020B08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  <a:latin typeface="Metric Regular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  <a:latin typeface="Metric Regular" panose="020B0503030202060203" pitchFamily="34" charset="0"/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704995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8" r:id="rId1"/>
    <p:sldLayoutId id="2147484179" r:id="rId2"/>
    <p:sldLayoutId id="2147484180" r:id="rId3"/>
    <p:sldLayoutId id="2147484181" r:id="rId4"/>
    <p:sldLayoutId id="2147484182" r:id="rId5"/>
    <p:sldLayoutId id="2147484183" r:id="rId6"/>
    <p:sldLayoutId id="2147484184" r:id="rId7"/>
    <p:sldLayoutId id="2147484185" r:id="rId8"/>
    <p:sldLayoutId id="2147484186" r:id="rId9"/>
    <p:sldLayoutId id="2147484187" r:id="rId10"/>
    <p:sldLayoutId id="2147484188" r:id="rId11"/>
    <p:sldLayoutId id="2147484189" r:id="rId12"/>
    <p:sldLayoutId id="2147484190" r:id="rId13"/>
    <p:sldLayoutId id="2147484191" r:id="rId14"/>
    <p:sldLayoutId id="2147484192" r:id="rId15"/>
    <p:sldLayoutId id="2147484193" r:id="rId16"/>
    <p:sldLayoutId id="2147484194" r:id="rId17"/>
    <p:sldLayoutId id="2147484195" r:id="rId18"/>
    <p:sldLayoutId id="2147484196" r:id="rId19"/>
    <p:sldLayoutId id="2147484197" r:id="rId20"/>
    <p:sldLayoutId id="2147484198" r:id="rId21"/>
    <p:sldLayoutId id="2147484199" r:id="rId22"/>
    <p:sldLayoutId id="2147484200" r:id="rId23"/>
    <p:sldLayoutId id="2147484201" r:id="rId24"/>
    <p:sldLayoutId id="2147484202" r:id="rId25"/>
    <p:sldLayoutId id="2147484203" r:id="rId26"/>
    <p:sldLayoutId id="2147484204" r:id="rId27"/>
    <p:sldLayoutId id="2147484205" r:id="rId28"/>
    <p:sldLayoutId id="2147484206" r:id="rId29"/>
    <p:sldLayoutId id="2147484207" r:id="rId30"/>
    <p:sldLayoutId id="2147484208" r:id="rId31"/>
    <p:sldLayoutId id="2147484209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01A982"/>
          </a:solidFill>
          <a:latin typeface="Metric Bold" panose="020B08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609484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1" r:id="rId1"/>
    <p:sldLayoutId id="2147484212" r:id="rId2"/>
    <p:sldLayoutId id="2147484213" r:id="rId3"/>
    <p:sldLayoutId id="2147484214" r:id="rId4"/>
    <p:sldLayoutId id="2147484215" r:id="rId5"/>
    <p:sldLayoutId id="2147484216" r:id="rId6"/>
    <p:sldLayoutId id="2147484217" r:id="rId7"/>
    <p:sldLayoutId id="2147484218" r:id="rId8"/>
    <p:sldLayoutId id="2147484219" r:id="rId9"/>
    <p:sldLayoutId id="2147484220" r:id="rId10"/>
    <p:sldLayoutId id="2147484221" r:id="rId11"/>
    <p:sldLayoutId id="2147484222" r:id="rId12"/>
    <p:sldLayoutId id="2147484223" r:id="rId13"/>
    <p:sldLayoutId id="2147484224" r:id="rId14"/>
    <p:sldLayoutId id="2147484225" r:id="rId15"/>
    <p:sldLayoutId id="2147484226" r:id="rId16"/>
    <p:sldLayoutId id="2147484227" r:id="rId17"/>
    <p:sldLayoutId id="2147484228" r:id="rId18"/>
    <p:sldLayoutId id="2147484229" r:id="rId19"/>
    <p:sldLayoutId id="2147484230" r:id="rId20"/>
    <p:sldLayoutId id="2147484231" r:id="rId21"/>
    <p:sldLayoutId id="2147484232" r:id="rId22"/>
    <p:sldLayoutId id="2147484233" r:id="rId23"/>
    <p:sldLayoutId id="2147484234" r:id="rId24"/>
    <p:sldLayoutId id="2147484235" r:id="rId25"/>
    <p:sldLayoutId id="2147484236" r:id="rId26"/>
    <p:sldLayoutId id="2147484237" r:id="rId27"/>
    <p:sldLayoutId id="2147484238" r:id="rId28"/>
    <p:sldLayoutId id="2147484239" r:id="rId29"/>
    <p:sldLayoutId id="2147484240" r:id="rId30"/>
    <p:sldLayoutId id="2147484241" r:id="rId31"/>
    <p:sldLayoutId id="2147484242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01A982"/>
          </a:solidFill>
          <a:latin typeface="Metric Bold" panose="020B08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75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39743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</a:defRPr>
            </a:lvl1pPr>
          </a:lstStyle>
          <a:p>
            <a:r>
              <a:rPr lang="en-US" dirty="0">
                <a:solidFill>
                  <a:srgbClr val="5F7A76"/>
                </a:solidFill>
              </a:rPr>
              <a:t>Slide </a:t>
            </a:r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r>
              <a:rPr lang="en-US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342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4" r:id="rId1"/>
    <p:sldLayoutId id="2147484245" r:id="rId2"/>
    <p:sldLayoutId id="2147484246" r:id="rId3"/>
    <p:sldLayoutId id="2147484247" r:id="rId4"/>
    <p:sldLayoutId id="2147484248" r:id="rId5"/>
    <p:sldLayoutId id="2147484249" r:id="rId6"/>
    <p:sldLayoutId id="2147484250" r:id="rId7"/>
    <p:sldLayoutId id="2147484251" r:id="rId8"/>
    <p:sldLayoutId id="2147484252" r:id="rId9"/>
    <p:sldLayoutId id="2147484253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01A982"/>
          </a:solidFill>
          <a:latin typeface="+mj-lt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lnSpc>
          <a:spcPct val="90000"/>
        </a:lnSpc>
        <a:spcBef>
          <a:spcPts val="1200"/>
        </a:spcBef>
        <a:buClr>
          <a:srgbClr val="01A982"/>
        </a:buClr>
        <a:buFont typeface="Wingdings" panose="05000000000000000000" pitchFamily="2" charset="2"/>
        <a:buChar char="§"/>
        <a:defRPr sz="1800" b="0" kern="1200">
          <a:solidFill>
            <a:srgbClr val="01A982"/>
          </a:solidFill>
          <a:latin typeface="+mn-lt"/>
          <a:ea typeface="+mn-ea"/>
          <a:cs typeface="+mn-cs"/>
        </a:defRPr>
      </a:lvl1pPr>
      <a:lvl2pPr marL="346075" indent="-173038" algn="l" defTabSz="914400" rtl="0" eaLnBrk="1" latinLnBrk="0" hangingPunct="1">
        <a:lnSpc>
          <a:spcPct val="90000"/>
        </a:lnSpc>
        <a:spcBef>
          <a:spcPts val="8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511175" indent="-16510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4213" indent="-173038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  <a:latin typeface="Metric Regular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</p:grp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  <a:latin typeface="Metric Regular" panose="020B0503030202060203" pitchFamily="34" charset="0"/>
              </a:rPr>
              <a:t>© Copyright 2017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542195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5" r:id="rId1"/>
    <p:sldLayoutId id="2147484256" r:id="rId2"/>
    <p:sldLayoutId id="2147484257" r:id="rId3"/>
    <p:sldLayoutId id="2147484258" r:id="rId4"/>
    <p:sldLayoutId id="2147484259" r:id="rId5"/>
    <p:sldLayoutId id="2147484260" r:id="rId6"/>
    <p:sldLayoutId id="2147484261" r:id="rId7"/>
    <p:sldLayoutId id="2147484262" r:id="rId8"/>
    <p:sldLayoutId id="2147484263" r:id="rId9"/>
    <p:sldLayoutId id="2147484264" r:id="rId10"/>
    <p:sldLayoutId id="2147484265" r:id="rId11"/>
    <p:sldLayoutId id="2147484266" r:id="rId12"/>
    <p:sldLayoutId id="2147484267" r:id="rId13"/>
    <p:sldLayoutId id="2147484268" r:id="rId14"/>
    <p:sldLayoutId id="2147484269" r:id="rId15"/>
    <p:sldLayoutId id="2147484270" r:id="rId16"/>
    <p:sldLayoutId id="2147484271" r:id="rId17"/>
    <p:sldLayoutId id="2147484272" r:id="rId18"/>
    <p:sldLayoutId id="2147484273" r:id="rId19"/>
    <p:sldLayoutId id="2147484274" r:id="rId20"/>
    <p:sldLayoutId id="2147484275" r:id="rId21"/>
    <p:sldLayoutId id="2147484276" r:id="rId22"/>
    <p:sldLayoutId id="2147484277" r:id="rId23"/>
    <p:sldLayoutId id="2147484278" r:id="rId24"/>
    <p:sldLayoutId id="2147484279" r:id="rId25"/>
    <p:sldLayoutId id="2147484280" r:id="rId26"/>
    <p:sldLayoutId id="2147484281" r:id="rId27"/>
    <p:sldLayoutId id="2147484282" r:id="rId28"/>
    <p:sldLayoutId id="2147484283" r:id="rId29"/>
    <p:sldLayoutId id="2147484284" r:id="rId30"/>
    <p:sldLayoutId id="2147484285" r:id="rId31"/>
    <p:sldLayoutId id="2147484286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01A982"/>
          </a:solidFill>
          <a:latin typeface="Metric Bold" panose="020B08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  <a:latin typeface="Metric Regular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/>
            </a:p>
          </p:txBody>
        </p:sp>
      </p:grpSp>
      <p:graphicFrame>
        <p:nvGraphicFramePr>
          <p:cNvPr id="4" name="Draft Stamp"/>
          <p:cNvGraphicFramePr>
            <a:graphicFrameLocks noGrp="1"/>
          </p:cNvGraphicFramePr>
          <p:nvPr userDrawn="1"/>
        </p:nvGraphicFramePr>
        <p:xfrm>
          <a:off x="11055350" y="6350"/>
          <a:ext cx="1136650" cy="48260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1136650">
                  <a:extLst>
                    <a:ext uri="{9D8B030D-6E8A-4147-A177-3AD203B41FA5}">
                      <a16:colId xmlns:a16="http://schemas.microsoft.com/office/drawing/2014/main" val="2263545849"/>
                    </a:ext>
                  </a:extLst>
                </a:gridCol>
              </a:tblGrid>
              <a:tr h="482600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rgbClr val="C00000"/>
                          </a:solidFill>
                          <a:latin typeface="Verdana" panose="020B0604030504040204" pitchFamily="34" charset="0"/>
                        </a:rPr>
                        <a:t>DRAFT</a:t>
                      </a:r>
                    </a:p>
                  </a:txBody>
                  <a:tcPr marL="0" marR="0" marT="0" marB="0" anchor="ctr" anchorCtr="1">
                    <a:lnT w="38100" cap="flat" cmpd="sng" algn="ctr">
                      <a:solidFill>
                        <a:srgbClr val="C00000"/>
                      </a:solidFill>
                      <a:prstDash val="solid"/>
                      <a:miter lim="800000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miter lim="800000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64312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3124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8" r:id="rId1"/>
    <p:sldLayoutId id="2147484289" r:id="rId2"/>
    <p:sldLayoutId id="2147484290" r:id="rId3"/>
    <p:sldLayoutId id="2147484291" r:id="rId4"/>
    <p:sldLayoutId id="2147484292" r:id="rId5"/>
    <p:sldLayoutId id="2147484293" r:id="rId6"/>
    <p:sldLayoutId id="2147484294" r:id="rId7"/>
    <p:sldLayoutId id="2147484295" r:id="rId8"/>
    <p:sldLayoutId id="2147484296" r:id="rId9"/>
    <p:sldLayoutId id="2147484297" r:id="rId10"/>
    <p:sldLayoutId id="2147484298" r:id="rId11"/>
    <p:sldLayoutId id="2147484299" r:id="rId12"/>
    <p:sldLayoutId id="2147484300" r:id="rId13"/>
    <p:sldLayoutId id="2147484301" r:id="rId14"/>
    <p:sldLayoutId id="2147484302" r:id="rId15"/>
    <p:sldLayoutId id="2147484303" r:id="rId16"/>
    <p:sldLayoutId id="2147484304" r:id="rId17"/>
    <p:sldLayoutId id="2147484305" r:id="rId18"/>
    <p:sldLayoutId id="2147484306" r:id="rId19"/>
    <p:sldLayoutId id="2147484307" r:id="rId20"/>
    <p:sldLayoutId id="2147484308" r:id="rId21"/>
    <p:sldLayoutId id="2147484309" r:id="rId22"/>
    <p:sldLayoutId id="2147484310" r:id="rId23"/>
    <p:sldLayoutId id="2147484311" r:id="rId24"/>
    <p:sldLayoutId id="2147484312" r:id="rId25"/>
    <p:sldLayoutId id="2147484313" r:id="rId26"/>
    <p:sldLayoutId id="2147484314" r:id="rId27"/>
    <p:sldLayoutId id="2147484315" r:id="rId28"/>
    <p:sldLayoutId id="2147484316" r:id="rId29"/>
    <p:sldLayoutId id="2147484317" r:id="rId30"/>
    <p:sldLayoutId id="2147484318" r:id="rId31"/>
    <p:sldLayoutId id="2147484319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01A982"/>
          </a:solidFill>
          <a:latin typeface="Metric Bold" panose="020B08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35CD2395-E5F2-43E0-A16E-7EE291BBFB1A}" type="datetime1">
              <a:rPr lang="en-GB" smtClean="0">
                <a:solidFill>
                  <a:prstClr val="black"/>
                </a:solidFill>
              </a:rPr>
              <a:pPr/>
              <a:t>23/11/2021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>
                <a:solidFill>
                  <a:schemeClr val="accent5"/>
                </a:solidFill>
              </a:defRPr>
            </a:lvl1pPr>
          </a:lstStyle>
          <a:p>
            <a:fld id="{2E074671-3260-43F7-8982-8752FC613B1D}" type="slidenum">
              <a:rPr lang="en-GB" smtClean="0">
                <a:solidFill>
                  <a:srgbClr val="617D78"/>
                </a:solidFill>
              </a:rPr>
              <a:pPr/>
              <a:t>‹#›</a:t>
            </a:fld>
            <a:endParaRPr lang="en-GB"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7561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1" r:id="rId1"/>
    <p:sldLayoutId id="2147484322" r:id="rId2"/>
    <p:sldLayoutId id="2147484323" r:id="rId3"/>
    <p:sldLayoutId id="2147484324" r:id="rId4"/>
    <p:sldLayoutId id="2147484325" r:id="rId5"/>
    <p:sldLayoutId id="2147484326" r:id="rId6"/>
    <p:sldLayoutId id="2147484327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3000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2983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39"/>
              </a:buBlip>
              <a:defRPr sz="2000" kern="1200" cap="all" normalizeH="0" baseline="1000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</p:spTree>
    <p:extLst>
      <p:ext uri="{BB962C8B-B14F-4D97-AF65-F5344CB8AC3E}">
        <p14:creationId xmlns:p14="http://schemas.microsoft.com/office/powerpoint/2010/main" val="831657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9" r:id="rId1"/>
    <p:sldLayoutId id="2147484330" r:id="rId2"/>
    <p:sldLayoutId id="2147484331" r:id="rId3"/>
    <p:sldLayoutId id="2147484332" r:id="rId4"/>
    <p:sldLayoutId id="2147484333" r:id="rId5"/>
    <p:sldLayoutId id="2147484334" r:id="rId6"/>
    <p:sldLayoutId id="2147484335" r:id="rId7"/>
    <p:sldLayoutId id="2147484336" r:id="rId8"/>
    <p:sldLayoutId id="2147484337" r:id="rId9"/>
    <p:sldLayoutId id="2147484338" r:id="rId10"/>
    <p:sldLayoutId id="2147484339" r:id="rId11"/>
    <p:sldLayoutId id="2147484340" r:id="rId12"/>
    <p:sldLayoutId id="2147484341" r:id="rId13"/>
    <p:sldLayoutId id="2147484342" r:id="rId14"/>
    <p:sldLayoutId id="2147484343" r:id="rId15"/>
    <p:sldLayoutId id="2147484344" r:id="rId16"/>
    <p:sldLayoutId id="2147484345" r:id="rId17"/>
    <p:sldLayoutId id="2147484346" r:id="rId18"/>
    <p:sldLayoutId id="2147484347" r:id="rId19"/>
    <p:sldLayoutId id="2147484348" r:id="rId20"/>
    <p:sldLayoutId id="2147484349" r:id="rId21"/>
    <p:sldLayoutId id="2147484350" r:id="rId22"/>
    <p:sldLayoutId id="2147484351" r:id="rId23"/>
    <p:sldLayoutId id="2147484352" r:id="rId24"/>
    <p:sldLayoutId id="2147484353" r:id="rId25"/>
    <p:sldLayoutId id="2147484354" r:id="rId26"/>
    <p:sldLayoutId id="2147484355" r:id="rId27"/>
    <p:sldLayoutId id="2147484356" r:id="rId28"/>
    <p:sldLayoutId id="2147484357" r:id="rId29"/>
    <p:sldLayoutId id="2147484358" r:id="rId30"/>
    <p:sldLayoutId id="2147484359" r:id="rId31"/>
    <p:sldLayoutId id="2147484360" r:id="rId32"/>
    <p:sldLayoutId id="2147484361" r:id="rId33"/>
    <p:sldLayoutId id="2147484362" r:id="rId34"/>
    <p:sldLayoutId id="2147484363" r:id="rId35"/>
    <p:sldLayoutId id="2147484364" r:id="rId36"/>
    <p:sldLayoutId id="2147484365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3"/>
              </a:buBlip>
              <a:defRPr sz="2000" kern="1200" cap="all" normalizeH="0" baseline="1000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4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4"/>
                </a:buBlip>
              </a:pPr>
              <a:t>‹#›</a:t>
            </a:fld>
            <a:endParaRPr lang="en-US" dirty="0">
              <a:solidFill>
                <a:srgbClr val="787871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 dirty="0">
                <a:solidFill>
                  <a:srgbClr val="787871"/>
                </a:solidFill>
              </a:rPr>
              <a:t>CONFIDENTIAL | AUTHORIZED</a:t>
            </a:r>
          </a:p>
        </p:txBody>
      </p:sp>
    </p:spTree>
    <p:extLst>
      <p:ext uri="{BB962C8B-B14F-4D97-AF65-F5344CB8AC3E}">
        <p14:creationId xmlns:p14="http://schemas.microsoft.com/office/powerpoint/2010/main" val="2903140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7" r:id="rId1"/>
    <p:sldLayoutId id="2147484368" r:id="rId2"/>
    <p:sldLayoutId id="2147484369" r:id="rId3"/>
    <p:sldLayoutId id="2147484370" r:id="rId4"/>
    <p:sldLayoutId id="2147484371" r:id="rId5"/>
    <p:sldLayoutId id="2147484372" r:id="rId6"/>
    <p:sldLayoutId id="2147484373" r:id="rId7"/>
    <p:sldLayoutId id="2147484374" r:id="rId8"/>
    <p:sldLayoutId id="2147484375" r:id="rId9"/>
    <p:sldLayoutId id="2147484376" r:id="rId10"/>
    <p:sldLayoutId id="2147484377" r:id="rId11"/>
    <p:sldLayoutId id="2147484378" r:id="rId12"/>
    <p:sldLayoutId id="2147484379" r:id="rId13"/>
    <p:sldLayoutId id="2147484380" r:id="rId14"/>
    <p:sldLayoutId id="2147484381" r:id="rId15"/>
    <p:sldLayoutId id="2147484382" r:id="rId16"/>
    <p:sldLayoutId id="2147484383" r:id="rId17"/>
    <p:sldLayoutId id="2147484384" r:id="rId18"/>
    <p:sldLayoutId id="2147484385" r:id="rId19"/>
    <p:sldLayoutId id="2147484386" r:id="rId20"/>
    <p:sldLayoutId id="2147484388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•"/>
        <a:defRPr sz="20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6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8770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877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618770" y="426948"/>
            <a:ext cx="10972800" cy="27432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26104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2" name="Rectangle 11"/>
          <p:cNvSpPr/>
          <p:nvPr userDrawn="1"/>
        </p:nvSpPr>
        <p:spPr>
          <a:xfrm>
            <a:off x="2954481" y="6611632"/>
            <a:ext cx="6283039" cy="2465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800" b="1" dirty="0">
                <a:solidFill>
                  <a:prstClr val="white">
                    <a:lumMod val="65000"/>
                  </a:prstClr>
                </a:solidFill>
                <a:latin typeface="Arial" charset="0"/>
              </a:rPr>
              <a:t>Management Study Only – No decision has been made to approve or implement the contents herein</a:t>
            </a:r>
          </a:p>
        </p:txBody>
      </p:sp>
    </p:spTree>
    <p:extLst>
      <p:ext uri="{BB962C8B-B14F-4D97-AF65-F5344CB8AC3E}">
        <p14:creationId xmlns:p14="http://schemas.microsoft.com/office/powerpoint/2010/main" val="2970052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  <a:latin typeface="Metric Regular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  <a:latin typeface="Metric Regular" panose="020B0503030202060203" pitchFamily="34" charset="0"/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514459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  <p:sldLayoutId id="2147483743" r:id="rId14"/>
    <p:sldLayoutId id="2147483744" r:id="rId15"/>
    <p:sldLayoutId id="2147483745" r:id="rId16"/>
    <p:sldLayoutId id="2147483746" r:id="rId17"/>
    <p:sldLayoutId id="2147483747" r:id="rId18"/>
    <p:sldLayoutId id="2147483748" r:id="rId19"/>
    <p:sldLayoutId id="2147483749" r:id="rId20"/>
    <p:sldLayoutId id="2147483750" r:id="rId21"/>
    <p:sldLayoutId id="2147483751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  <p:sldLayoutId id="2147483758" r:id="rId29"/>
    <p:sldLayoutId id="2147483759" r:id="rId30"/>
    <p:sldLayoutId id="2147483760" r:id="rId31"/>
    <p:sldLayoutId id="2147483761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01A982"/>
          </a:solidFill>
          <a:latin typeface="Metric Bold" panose="020B08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75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39743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r>
              <a:rPr lang="en-US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4107653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01A982"/>
          </a:solidFill>
          <a:latin typeface="+mj-lt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lnSpc>
          <a:spcPct val="90000"/>
        </a:lnSpc>
        <a:spcBef>
          <a:spcPts val="1200"/>
        </a:spcBef>
        <a:buClr>
          <a:srgbClr val="01A982"/>
        </a:buClr>
        <a:buFont typeface="Wingdings" panose="05000000000000000000" pitchFamily="2" charset="2"/>
        <a:buChar char="§"/>
        <a:defRPr sz="1800" b="0" kern="1200">
          <a:solidFill>
            <a:srgbClr val="01A982"/>
          </a:solidFill>
          <a:latin typeface="+mn-lt"/>
          <a:ea typeface="+mn-ea"/>
          <a:cs typeface="+mn-cs"/>
        </a:defRPr>
      </a:lvl1pPr>
      <a:lvl2pPr marL="346075" indent="-173038" algn="l" defTabSz="914400" rtl="0" eaLnBrk="1" latinLnBrk="0" hangingPunct="1">
        <a:lnSpc>
          <a:spcPct val="90000"/>
        </a:lnSpc>
        <a:spcBef>
          <a:spcPts val="8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511175" indent="-16510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4213" indent="-173038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989399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795" r:id="rId13"/>
    <p:sldLayoutId id="2147483796" r:id="rId14"/>
    <p:sldLayoutId id="2147483797" r:id="rId15"/>
    <p:sldLayoutId id="2147483798" r:id="rId16"/>
    <p:sldLayoutId id="2147483799" r:id="rId17"/>
    <p:sldLayoutId id="2147483800" r:id="rId18"/>
    <p:sldLayoutId id="2147483801" r:id="rId19"/>
    <p:sldLayoutId id="2147483802" r:id="rId20"/>
    <p:sldLayoutId id="2147483803" r:id="rId21"/>
    <p:sldLayoutId id="2147483804" r:id="rId22"/>
    <p:sldLayoutId id="2147483805" r:id="rId23"/>
    <p:sldLayoutId id="2147483806" r:id="rId24"/>
    <p:sldLayoutId id="2147483807" r:id="rId25"/>
    <p:sldLayoutId id="2147483808" r:id="rId26"/>
    <p:sldLayoutId id="2147483809" r:id="rId27"/>
    <p:sldLayoutId id="2147483810" r:id="rId28"/>
    <p:sldLayoutId id="2147483811" r:id="rId29"/>
    <p:sldLayoutId id="2147483812" r:id="rId30"/>
    <p:sldLayoutId id="2147483813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  <a:latin typeface="Metric Regular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  <a:latin typeface="Metric Regular" panose="020B0503030202060203" pitchFamily="34" charset="0"/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343013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  <p:sldLayoutId id="2147483827" r:id="rId13"/>
    <p:sldLayoutId id="2147483828" r:id="rId14"/>
    <p:sldLayoutId id="2147483829" r:id="rId15"/>
    <p:sldLayoutId id="2147483830" r:id="rId16"/>
    <p:sldLayoutId id="2147483831" r:id="rId17"/>
    <p:sldLayoutId id="2147483832" r:id="rId18"/>
    <p:sldLayoutId id="2147483833" r:id="rId19"/>
    <p:sldLayoutId id="2147483834" r:id="rId20"/>
    <p:sldLayoutId id="2147483835" r:id="rId21"/>
    <p:sldLayoutId id="2147483836" r:id="rId22"/>
    <p:sldLayoutId id="2147483837" r:id="rId23"/>
    <p:sldLayoutId id="2147483838" r:id="rId24"/>
    <p:sldLayoutId id="2147483839" r:id="rId25"/>
    <p:sldLayoutId id="2147483840" r:id="rId26"/>
    <p:sldLayoutId id="2147483841" r:id="rId27"/>
    <p:sldLayoutId id="2147483842" r:id="rId28"/>
    <p:sldLayoutId id="2147483843" r:id="rId29"/>
    <p:sldLayoutId id="2147483844" r:id="rId30"/>
    <p:sldLayoutId id="2147483845" r:id="rId31"/>
    <p:sldLayoutId id="2147483846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01A982"/>
          </a:solidFill>
          <a:latin typeface="Metric Bold" panose="020B08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  <a:latin typeface="Metric Regular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  <a:latin typeface="Metric Regular" panose="020B0503030202060203" pitchFamily="34" charset="0"/>
              </a:rPr>
              <a:t>© Copyright 2016 Hewlett Packard Enterprise  |  Global Information Technology (GIT)</a:t>
            </a:r>
          </a:p>
        </p:txBody>
      </p:sp>
      <p:graphicFrame>
        <p:nvGraphicFramePr>
          <p:cNvPr id="5" name="Draft Stamp"/>
          <p:cNvGraphicFramePr>
            <a:graphicFrameLocks noGrp="1"/>
          </p:cNvGraphicFramePr>
          <p:nvPr userDrawn="1"/>
        </p:nvGraphicFramePr>
        <p:xfrm>
          <a:off x="11055350" y="6350"/>
          <a:ext cx="1136650" cy="48260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11366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82600">
                <a:tc>
                  <a:txBody>
                    <a:bodyPr/>
                    <a:lstStyle/>
                    <a:p>
                      <a:r>
                        <a:rPr lang="en-US" sz="2600" b="1" dirty="0">
                          <a:solidFill>
                            <a:srgbClr val="C00000"/>
                          </a:solidFill>
                          <a:latin typeface="Ariel"/>
                        </a:rPr>
                        <a:t>DRAFT</a:t>
                      </a:r>
                    </a:p>
                  </a:txBody>
                  <a:tcPr marL="0" marR="0" marT="0" marB="0" anchor="ctr" anchorCtr="1">
                    <a:lnT w="38100" cap="flat" cmpd="sng" algn="ctr">
                      <a:solidFill>
                        <a:srgbClr val="C00000"/>
                      </a:solidFill>
                      <a:prstDash val="solid"/>
                      <a:miter lim="800000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miter lim="800000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8473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  <p:sldLayoutId id="2147483859" r:id="rId12"/>
    <p:sldLayoutId id="2147483860" r:id="rId13"/>
    <p:sldLayoutId id="2147483861" r:id="rId14"/>
    <p:sldLayoutId id="2147483862" r:id="rId15"/>
    <p:sldLayoutId id="2147483863" r:id="rId16"/>
    <p:sldLayoutId id="2147483864" r:id="rId17"/>
    <p:sldLayoutId id="2147483865" r:id="rId18"/>
    <p:sldLayoutId id="2147483866" r:id="rId19"/>
    <p:sldLayoutId id="2147483867" r:id="rId20"/>
    <p:sldLayoutId id="2147483868" r:id="rId21"/>
    <p:sldLayoutId id="2147483869" r:id="rId22"/>
    <p:sldLayoutId id="2147483870" r:id="rId23"/>
    <p:sldLayoutId id="2147483871" r:id="rId24"/>
    <p:sldLayoutId id="2147483872" r:id="rId25"/>
    <p:sldLayoutId id="2147483873" r:id="rId26"/>
    <p:sldLayoutId id="2147483874" r:id="rId27"/>
    <p:sldLayoutId id="2147483875" r:id="rId28"/>
    <p:sldLayoutId id="2147483876" r:id="rId29"/>
    <p:sldLayoutId id="2147483877" r:id="rId30"/>
    <p:sldLayoutId id="2147483878" r:id="rId31"/>
    <p:sldLayoutId id="2147483879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01A982"/>
          </a:solidFill>
          <a:latin typeface="Metric Bold" panose="020B08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  <a:latin typeface="Metric Regular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graphicFrame>
        <p:nvGraphicFramePr>
          <p:cNvPr id="5" name="Draft Stamp"/>
          <p:cNvGraphicFramePr>
            <a:graphicFrameLocks noGrp="1"/>
          </p:cNvGraphicFramePr>
          <p:nvPr userDrawn="1"/>
        </p:nvGraphicFramePr>
        <p:xfrm>
          <a:off x="11055350" y="6350"/>
          <a:ext cx="1136650" cy="48260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11366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82600">
                <a:tc>
                  <a:txBody>
                    <a:bodyPr/>
                    <a:lstStyle/>
                    <a:p>
                      <a:r>
                        <a:rPr lang="en-US" sz="2600" b="1" dirty="0">
                          <a:solidFill>
                            <a:srgbClr val="C00000"/>
                          </a:solidFill>
                          <a:latin typeface="Ariel"/>
                        </a:rPr>
                        <a:t>DRAFT</a:t>
                      </a:r>
                    </a:p>
                  </a:txBody>
                  <a:tcPr marL="0" marR="0" marT="0" marB="0" anchor="ctr" anchorCtr="1">
                    <a:lnT w="38100" cap="flat" cmpd="sng" algn="ctr">
                      <a:solidFill>
                        <a:srgbClr val="C00000"/>
                      </a:solidFill>
                      <a:prstDash val="solid"/>
                      <a:miter lim="800000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miter lim="800000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3485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3" r:id="rId1"/>
    <p:sldLayoutId id="2147484014" r:id="rId2"/>
    <p:sldLayoutId id="2147484015" r:id="rId3"/>
    <p:sldLayoutId id="2147484016" r:id="rId4"/>
    <p:sldLayoutId id="2147484017" r:id="rId5"/>
    <p:sldLayoutId id="2147484018" r:id="rId6"/>
    <p:sldLayoutId id="2147484019" r:id="rId7"/>
    <p:sldLayoutId id="2147484020" r:id="rId8"/>
    <p:sldLayoutId id="2147484021" r:id="rId9"/>
    <p:sldLayoutId id="2147484022" r:id="rId10"/>
    <p:sldLayoutId id="2147484023" r:id="rId11"/>
    <p:sldLayoutId id="2147484024" r:id="rId12"/>
    <p:sldLayoutId id="2147484025" r:id="rId13"/>
    <p:sldLayoutId id="2147484026" r:id="rId14"/>
    <p:sldLayoutId id="2147484027" r:id="rId15"/>
    <p:sldLayoutId id="2147484028" r:id="rId16"/>
    <p:sldLayoutId id="2147484029" r:id="rId17"/>
    <p:sldLayoutId id="2147484030" r:id="rId18"/>
    <p:sldLayoutId id="2147484031" r:id="rId19"/>
    <p:sldLayoutId id="2147484032" r:id="rId20"/>
    <p:sldLayoutId id="2147484033" r:id="rId21"/>
    <p:sldLayoutId id="2147484034" r:id="rId22"/>
    <p:sldLayoutId id="2147484035" r:id="rId23"/>
    <p:sldLayoutId id="2147484036" r:id="rId24"/>
    <p:sldLayoutId id="2147484037" r:id="rId25"/>
    <p:sldLayoutId id="2147484038" r:id="rId26"/>
    <p:sldLayoutId id="2147484039" r:id="rId27"/>
    <p:sldLayoutId id="2147484040" r:id="rId28"/>
    <p:sldLayoutId id="2147484041" r:id="rId29"/>
    <p:sldLayoutId id="2147484042" r:id="rId30"/>
    <p:sldLayoutId id="2147484043" r:id="rId31"/>
    <p:sldLayoutId id="2147484044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01A982"/>
          </a:solidFill>
          <a:latin typeface="Metric Bold" panose="020B08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  <a:latin typeface="MetricHPE" panose="020B0503030202060203" pitchFamily="34" charset="0"/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  <a:latin typeface="MetricHPE" panose="020B0503030202060203" pitchFamily="34" charset="0"/>
              </a:endParaRPr>
            </a:p>
          </p:txBody>
        </p:sp>
      </p:grp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B8B9BA"/>
                </a:solidFill>
                <a:latin typeface="MetricHPE" panose="020B0503030202060203" pitchFamily="34" charset="0"/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731213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5" r:id="rId1"/>
    <p:sldLayoutId id="2147484146" r:id="rId2"/>
    <p:sldLayoutId id="2147484147" r:id="rId3"/>
    <p:sldLayoutId id="2147484148" r:id="rId4"/>
    <p:sldLayoutId id="2147484149" r:id="rId5"/>
    <p:sldLayoutId id="2147484150" r:id="rId6"/>
    <p:sldLayoutId id="2147484151" r:id="rId7"/>
    <p:sldLayoutId id="2147484152" r:id="rId8"/>
    <p:sldLayoutId id="2147484153" r:id="rId9"/>
    <p:sldLayoutId id="2147484154" r:id="rId10"/>
    <p:sldLayoutId id="2147484155" r:id="rId11"/>
    <p:sldLayoutId id="2147484156" r:id="rId12"/>
    <p:sldLayoutId id="2147484157" r:id="rId13"/>
    <p:sldLayoutId id="2147484158" r:id="rId14"/>
    <p:sldLayoutId id="2147484159" r:id="rId15"/>
    <p:sldLayoutId id="2147484160" r:id="rId16"/>
    <p:sldLayoutId id="2147484161" r:id="rId17"/>
    <p:sldLayoutId id="2147484162" r:id="rId18"/>
    <p:sldLayoutId id="2147484163" r:id="rId19"/>
    <p:sldLayoutId id="2147484164" r:id="rId20"/>
    <p:sldLayoutId id="2147484165" r:id="rId21"/>
    <p:sldLayoutId id="2147484166" r:id="rId22"/>
    <p:sldLayoutId id="2147484167" r:id="rId23"/>
    <p:sldLayoutId id="2147484168" r:id="rId24"/>
    <p:sldLayoutId id="2147484169" r:id="rId25"/>
    <p:sldLayoutId id="2147484170" r:id="rId26"/>
    <p:sldLayoutId id="2147484171" r:id="rId27"/>
    <p:sldLayoutId id="2147484172" r:id="rId28"/>
    <p:sldLayoutId id="2147484173" r:id="rId29"/>
    <p:sldLayoutId id="2147484174" r:id="rId30"/>
    <p:sldLayoutId id="2147484175" r:id="rId31"/>
    <p:sldLayoutId id="2147484176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01A982"/>
          </a:solidFill>
          <a:latin typeface="MetricHPE" panose="020B05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>
              <a:lumMod val="65000"/>
              <a:lumOff val="35000"/>
            </a:schemeClr>
          </a:solidFill>
          <a:latin typeface="MetricHPE" panose="020B05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600" kern="1200">
          <a:solidFill>
            <a:schemeClr val="tx1">
              <a:lumMod val="65000"/>
              <a:lumOff val="35000"/>
            </a:schemeClr>
          </a:solidFill>
          <a:latin typeface="MetricHPE" panose="020B05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65000"/>
              <a:lumOff val="35000"/>
            </a:schemeClr>
          </a:solidFill>
          <a:latin typeface="MetricHPE" panose="020B05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200" kern="1200">
          <a:solidFill>
            <a:schemeClr val="tx1">
              <a:lumMod val="65000"/>
              <a:lumOff val="35000"/>
            </a:schemeClr>
          </a:solidFill>
          <a:latin typeface="MetricHPE" panose="020B05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200" kern="1200">
          <a:solidFill>
            <a:schemeClr val="tx1">
              <a:lumMod val="65000"/>
              <a:lumOff val="35000"/>
            </a:schemeClr>
          </a:solidFill>
          <a:latin typeface="MetricHPE" panose="020B05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2.wmf"/><Relationship Id="rId4" Type="http://schemas.openxmlformats.org/officeDocument/2006/relationships/package" Target="../embeddings/Microsoft_Word_Document.docx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9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3.wmf"/><Relationship Id="rId4" Type="http://schemas.openxmlformats.org/officeDocument/2006/relationships/package" Target="../embeddings/Microsoft_Word_Document1.docx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5.wmf"/><Relationship Id="rId2" Type="http://schemas.openxmlformats.org/officeDocument/2006/relationships/slideLayout" Target="../slideLayouts/slideLayout49.xml"/><Relationship Id="rId1" Type="http://schemas.openxmlformats.org/officeDocument/2006/relationships/vmlDrawing" Target="../drawings/vmlDrawing5.vml"/><Relationship Id="rId6" Type="http://schemas.openxmlformats.org/officeDocument/2006/relationships/package" Target="../embeddings/Microsoft_Excel_Worksheet2.xlsx"/><Relationship Id="rId5" Type="http://schemas.openxmlformats.org/officeDocument/2006/relationships/image" Target="../media/image14.wmf"/><Relationship Id="rId4" Type="http://schemas.openxmlformats.org/officeDocument/2006/relationships/package" Target="../embeddings/Microsoft_Excel_Worksheet.xlsx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B1FBC040-873B-496C-AC87-8951993B778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6CBBE51-647C-425D-90EE-4D9A35C956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441" y="1981200"/>
            <a:ext cx="9141619" cy="297180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EMD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748343-DFD1-40F9-AB80-BCFEAC911E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983787" cy="699107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Access Control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0F31FB-AC3E-46AA-9C67-8C102B0770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Nov 20, 2021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B1F49F9-424E-4695-BD3F-395449012E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6242" y="305252"/>
            <a:ext cx="3036071" cy="1225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746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DM Access Controls for Privacy &amp; Information Govern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066799"/>
            <a:ext cx="10969784" cy="550594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As per the Privacy and Information Governance policies, following changes are being implemented as short term measures</a:t>
            </a:r>
          </a:p>
          <a:p>
            <a:pPr marL="0" indent="0">
              <a:buNone/>
            </a:pP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EMDM UI - New Roles to control access to Privacy Information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EMDM to EAP publication changes restrict the flow of tax information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API &amp; Subscription changes - TBC</a:t>
            </a:r>
          </a:p>
          <a:p>
            <a:pPr marL="0" indent="0">
              <a:buNone/>
            </a:pPr>
            <a:endParaRPr lang="en-US" sz="11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en-GB" dirty="0"/>
          </a:p>
          <a:p>
            <a:pPr marL="228600" lvl="1" indent="0">
              <a:buNone/>
            </a:pPr>
            <a:r>
              <a:rPr lang="en-GB" sz="1800" dirty="0"/>
              <a:t>This document covers the changes pertaining to EMDM UI</a:t>
            </a:r>
            <a:endParaRPr lang="en-US" sz="180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2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879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DM UI – New Roles to control access to Tax detai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972" y="838072"/>
            <a:ext cx="10969784" cy="550594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New roles to be created to limit the access to tax details in EMDM UI for Party Search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sz="11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en-GB" sz="11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5143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GB" sz="13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3</a:t>
            </a:fld>
            <a:endParaRPr lang="en-US" dirty="0">
              <a:solidFill>
                <a:srgbClr val="5F7A76"/>
              </a:solidFill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0450EE3B-82B8-427C-A6AC-BC149E4C1A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3972735"/>
              </p:ext>
            </p:extLst>
          </p:nvPr>
        </p:nvGraphicFramePr>
        <p:xfrm>
          <a:off x="228600" y="1128140"/>
          <a:ext cx="11963400" cy="5772775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312058192"/>
                    </a:ext>
                  </a:extLst>
                </a:gridCol>
                <a:gridCol w="2438400">
                  <a:extLst>
                    <a:ext uri="{9D8B030D-6E8A-4147-A177-3AD203B41FA5}">
                      <a16:colId xmlns:a16="http://schemas.microsoft.com/office/drawing/2014/main" val="242389626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1659442596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4150554962"/>
                    </a:ext>
                  </a:extLst>
                </a:gridCol>
                <a:gridCol w="1993900">
                  <a:extLst>
                    <a:ext uri="{9D8B030D-6E8A-4147-A177-3AD203B41FA5}">
                      <a16:colId xmlns:a16="http://schemas.microsoft.com/office/drawing/2014/main" val="2777215551"/>
                    </a:ext>
                  </a:extLst>
                </a:gridCol>
                <a:gridCol w="1993900">
                  <a:extLst>
                    <a:ext uri="{9D8B030D-6E8A-4147-A177-3AD203B41FA5}">
                      <a16:colId xmlns:a16="http://schemas.microsoft.com/office/drawing/2014/main" val="1763410560"/>
                    </a:ext>
                  </a:extLst>
                </a:gridCol>
              </a:tblGrid>
              <a:tr h="774055">
                <a:tc>
                  <a:txBody>
                    <a:bodyPr/>
                    <a:lstStyle/>
                    <a:p>
                      <a:r>
                        <a:rPr lang="en-US" sz="1600" dirty="0"/>
                        <a:t>Capability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urrent Role Access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Restrictions to be implemented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New Role Name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Functions to be modified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Notes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403750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Party Search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ll Roles can view the Tax details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Limit the access to Tax details for users with </a:t>
                      </a:r>
                      <a:r>
                        <a:rPr lang="en-US" sz="1400" dirty="0" err="1">
                          <a:solidFill>
                            <a:srgbClr val="00B050"/>
                          </a:solidFill>
                        </a:rPr>
                        <a:t>TaxAdmin</a:t>
                      </a:r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 (Add-on) </a:t>
                      </a:r>
                      <a:r>
                        <a:rPr lang="en-US" sz="1400" dirty="0"/>
                        <a:t>Role</a:t>
                      </a:r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r>
                        <a:rPr lang="en-US" sz="1100" dirty="0">
                          <a:solidFill>
                            <a:srgbClr val="00B050"/>
                          </a:solidFill>
                        </a:rPr>
                        <a:t>Everyone has to request for this role specifically – including Super user..</a:t>
                      </a:r>
                    </a:p>
                    <a:p>
                      <a:endParaRPr lang="en-US" sz="1100" dirty="0">
                        <a:solidFill>
                          <a:srgbClr val="00B050"/>
                        </a:solidFill>
                      </a:endParaRPr>
                    </a:p>
                    <a:p>
                      <a:r>
                        <a:rPr lang="en-US" sz="1100" dirty="0">
                          <a:solidFill>
                            <a:srgbClr val="00B050"/>
                          </a:solidFill>
                        </a:rPr>
                        <a:t>All requests to be approved by Tax DI team – Shams to route the access to Renel/Danilo</a:t>
                      </a:r>
                    </a:p>
                    <a:p>
                      <a:endParaRPr lang="en-US" sz="1100" dirty="0">
                        <a:solidFill>
                          <a:srgbClr val="00B050"/>
                        </a:solidFill>
                      </a:endParaRPr>
                    </a:p>
                    <a:p>
                      <a:r>
                        <a:rPr lang="en-US" sz="1100" dirty="0">
                          <a:solidFill>
                            <a:srgbClr val="00B050"/>
                          </a:solidFill>
                        </a:rPr>
                        <a:t>Threshold on the access requests will be setup as we progress thru the implementation</a:t>
                      </a:r>
                      <a:endParaRPr lang="en-GB" sz="1100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>
                          <a:solidFill>
                            <a:srgbClr val="00B050"/>
                          </a:solidFill>
                        </a:rPr>
                        <a:t>TaxAdmin</a:t>
                      </a:r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 (Add-on)</a:t>
                      </a:r>
                      <a:endParaRPr lang="en-GB" sz="1400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move the capability to search on Tax for all except </a:t>
                      </a:r>
                      <a:r>
                        <a:rPr lang="en-GB" sz="1400" kern="1200" dirty="0" err="1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xAdmin</a:t>
                      </a:r>
                      <a:r>
                        <a:rPr lang="en-GB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ol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/>
                        <a:t>Remove Tax Id from the Party header details </a:t>
                      </a:r>
                      <a:r>
                        <a:rPr lang="en-GB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x for all except </a:t>
                      </a:r>
                      <a:r>
                        <a:rPr lang="en-GB" sz="1400" kern="1200" dirty="0" err="1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xAdmin</a:t>
                      </a:r>
                      <a:r>
                        <a:rPr lang="en-GB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ole</a:t>
                      </a:r>
                      <a:endParaRPr lang="en-GB" sz="1400" dirty="0"/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able the Party External Identifier Tab for all except </a:t>
                      </a:r>
                      <a:r>
                        <a:rPr lang="en-GB" sz="1400" kern="1200" dirty="0" err="1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xAdmin</a:t>
                      </a:r>
                      <a:r>
                        <a:rPr lang="en-GB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ole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ee screen shots on the party search modifications</a:t>
                      </a:r>
                    </a:p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94637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Party Create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Super User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y Business Admin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y SM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Hierarchy Business Admin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Hierarchy SM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ner Business Admin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ner S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Remove Party create access to (??)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Hierarchy Business Admin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Hierarchy SM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ner Business Admin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ner SME</a:t>
                      </a:r>
                    </a:p>
                    <a:p>
                      <a:pPr marL="0" indent="0" algn="l" defTabSz="914400" rtl="0" eaLnBrk="1" latinLnBrk="0" hangingPunct="1">
                        <a:buFont typeface="Wingdings" panose="05000000000000000000" pitchFamily="2" charset="2"/>
                        <a:buNone/>
                      </a:pPr>
                      <a:r>
                        <a:rPr lang="en-GB" sz="11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No action for IT until cross-POD alignment is needed</a:t>
                      </a:r>
                    </a:p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244878"/>
                  </a:ext>
                </a:extLst>
              </a:tr>
            </a:tbl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AC0E4E2B-087A-48B2-9BC9-58F43ECA1C1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85634990"/>
              </p:ext>
            </p:extLst>
          </p:nvPr>
        </p:nvGraphicFramePr>
        <p:xfrm>
          <a:off x="10630825" y="3416547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Document" showAsIcon="1" r:id="rId4" imgW="914400" imgH="806400" progId="Word.Document.12">
                  <p:embed/>
                </p:oleObj>
              </mc:Choice>
              <mc:Fallback>
                <p:oleObj name="Document" showAsIcon="1" r:id="rId4" imgW="914400" imgH="806400" progId="Word.Document.12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AC0E4E2B-087A-48B2-9BC9-58F43ECA1C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630825" y="3416547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8120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DM UI – New Roles to control access to Tax detai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972" y="838072"/>
            <a:ext cx="10969784" cy="550594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New roles to be created to limit the access to tax details in EMDM UI</a:t>
            </a:r>
          </a:p>
          <a:p>
            <a:pPr marL="0" indent="0">
              <a:buNone/>
            </a:pPr>
            <a:endParaRPr lang="en-US" sz="11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en-GB" sz="11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5143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GB" sz="13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4</a:t>
            </a:fld>
            <a:endParaRPr lang="en-US" dirty="0">
              <a:solidFill>
                <a:srgbClr val="5F7A76"/>
              </a:solidFill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0450EE3B-82B8-427C-A6AC-BC149E4C1A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9385496"/>
              </p:ext>
            </p:extLst>
          </p:nvPr>
        </p:nvGraphicFramePr>
        <p:xfrm>
          <a:off x="228600" y="1371600"/>
          <a:ext cx="11963400" cy="5925175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312058192"/>
                    </a:ext>
                  </a:extLst>
                </a:gridCol>
                <a:gridCol w="2590800">
                  <a:extLst>
                    <a:ext uri="{9D8B030D-6E8A-4147-A177-3AD203B41FA5}">
                      <a16:colId xmlns:a16="http://schemas.microsoft.com/office/drawing/2014/main" val="2423896262"/>
                    </a:ext>
                  </a:extLst>
                </a:gridCol>
                <a:gridCol w="2590800">
                  <a:extLst>
                    <a:ext uri="{9D8B030D-6E8A-4147-A177-3AD203B41FA5}">
                      <a16:colId xmlns:a16="http://schemas.microsoft.com/office/drawing/2014/main" val="1659442596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4150554962"/>
                    </a:ext>
                  </a:extLst>
                </a:gridCol>
                <a:gridCol w="1993900">
                  <a:extLst>
                    <a:ext uri="{9D8B030D-6E8A-4147-A177-3AD203B41FA5}">
                      <a16:colId xmlns:a16="http://schemas.microsoft.com/office/drawing/2014/main" val="2777215551"/>
                    </a:ext>
                  </a:extLst>
                </a:gridCol>
                <a:gridCol w="1993900">
                  <a:extLst>
                    <a:ext uri="{9D8B030D-6E8A-4147-A177-3AD203B41FA5}">
                      <a16:colId xmlns:a16="http://schemas.microsoft.com/office/drawing/2014/main" val="1763410560"/>
                    </a:ext>
                  </a:extLst>
                </a:gridCol>
              </a:tblGrid>
              <a:tr h="774055">
                <a:tc>
                  <a:txBody>
                    <a:bodyPr/>
                    <a:lstStyle/>
                    <a:p>
                      <a:r>
                        <a:rPr lang="en-US" sz="1600" dirty="0"/>
                        <a:t>Capability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urrent Role Access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Restrictions to be implemented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New Role Name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Functions to be modified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Notes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403750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Search CLP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Super User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y Business Admin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y SM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Hierarchy Business Admin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Hierarchy SM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ner Business Admin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ner S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Enable the link only for </a:t>
                      </a:r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CLP Admin (add-on)</a:t>
                      </a:r>
                      <a:r>
                        <a:rPr lang="en-US" sz="1400" dirty="0"/>
                        <a:t> Role in case the CLP Search Results has tax detail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Request for </a:t>
                      </a:r>
                      <a:r>
                        <a:rPr lang="en-US" sz="1400" dirty="0" err="1">
                          <a:solidFill>
                            <a:srgbClr val="00B050"/>
                          </a:solidFill>
                        </a:rPr>
                        <a:t>CLPAdmin</a:t>
                      </a:r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 to be limited to handful of EMDM Ops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>
                          <a:solidFill>
                            <a:srgbClr val="00B050"/>
                          </a:solidFill>
                        </a:rPr>
                        <a:t>CLPAdmin</a:t>
                      </a:r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 (Add-on)</a:t>
                      </a:r>
                      <a:endParaRPr lang="en-GB" sz="1400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94637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Search History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Super User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y Business Admin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y S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Check if the report displays tax details and if so, disable/remove the tax details except for </a:t>
                      </a:r>
                      <a:r>
                        <a:rPr lang="en-US" sz="1400" dirty="0" err="1">
                          <a:solidFill>
                            <a:srgbClr val="00B050"/>
                          </a:solidFill>
                        </a:rPr>
                        <a:t>TaxAdmin</a:t>
                      </a:r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 role</a:t>
                      </a:r>
                      <a:endParaRPr lang="en-GB" sz="1400" dirty="0">
                        <a:solidFill>
                          <a:srgbClr val="00B050"/>
                        </a:solidFill>
                      </a:endParaRPr>
                    </a:p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Tax Admin (add-on)</a:t>
                      </a:r>
                      <a:r>
                        <a:rPr lang="en-US" sz="1400" dirty="0"/>
                        <a:t> </a:t>
                      </a:r>
                      <a:endParaRPr lang="en-GB" sz="1400" dirty="0">
                        <a:solidFill>
                          <a:srgbClr val="00B050"/>
                        </a:solidFill>
                      </a:endParaRPr>
                    </a:p>
                    <a:p>
                      <a:endParaRPr lang="en-GB" sz="1400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24487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Multi VAT Report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Super User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y Business Admin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y S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nable the link only for </a:t>
                      </a:r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Tax Admin (add-on)</a:t>
                      </a:r>
                      <a:r>
                        <a:rPr lang="en-US" sz="1400" dirty="0"/>
                        <a:t> Role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Tax Admin (add-on)</a:t>
                      </a:r>
                      <a:r>
                        <a:rPr lang="en-US" sz="1400" dirty="0"/>
                        <a:t> </a:t>
                      </a:r>
                      <a:endParaRPr lang="en-GB" sz="1400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877530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Audit Trail Report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heck current role access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386432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Published Errors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Check current role access and if tax details are displayed</a:t>
                      </a:r>
                      <a:endParaRPr lang="en-GB" sz="1400" dirty="0"/>
                    </a:p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83362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8438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DM UI – New Roles to control access to Tax detai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972" y="838072"/>
            <a:ext cx="10969784" cy="550594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New roles to be created to limit the access to tax details in EMDM UI</a:t>
            </a:r>
          </a:p>
          <a:p>
            <a:pPr marL="0" indent="0">
              <a:buNone/>
            </a:pPr>
            <a:endParaRPr lang="en-US" sz="11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en-GB" sz="11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5143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GB" sz="13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5</a:t>
            </a:fld>
            <a:endParaRPr lang="en-US" dirty="0">
              <a:solidFill>
                <a:srgbClr val="5F7A76"/>
              </a:solidFill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0450EE3B-82B8-427C-A6AC-BC149E4C1A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7736702"/>
              </p:ext>
            </p:extLst>
          </p:nvPr>
        </p:nvGraphicFramePr>
        <p:xfrm>
          <a:off x="228600" y="1371600"/>
          <a:ext cx="11963400" cy="4157335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312058192"/>
                    </a:ext>
                  </a:extLst>
                </a:gridCol>
                <a:gridCol w="2590800">
                  <a:extLst>
                    <a:ext uri="{9D8B030D-6E8A-4147-A177-3AD203B41FA5}">
                      <a16:colId xmlns:a16="http://schemas.microsoft.com/office/drawing/2014/main" val="2423896262"/>
                    </a:ext>
                  </a:extLst>
                </a:gridCol>
                <a:gridCol w="2590800">
                  <a:extLst>
                    <a:ext uri="{9D8B030D-6E8A-4147-A177-3AD203B41FA5}">
                      <a16:colId xmlns:a16="http://schemas.microsoft.com/office/drawing/2014/main" val="1659442596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4150554962"/>
                    </a:ext>
                  </a:extLst>
                </a:gridCol>
                <a:gridCol w="1993900">
                  <a:extLst>
                    <a:ext uri="{9D8B030D-6E8A-4147-A177-3AD203B41FA5}">
                      <a16:colId xmlns:a16="http://schemas.microsoft.com/office/drawing/2014/main" val="2777215551"/>
                    </a:ext>
                  </a:extLst>
                </a:gridCol>
                <a:gridCol w="1993900">
                  <a:extLst>
                    <a:ext uri="{9D8B030D-6E8A-4147-A177-3AD203B41FA5}">
                      <a16:colId xmlns:a16="http://schemas.microsoft.com/office/drawing/2014/main" val="1763410560"/>
                    </a:ext>
                  </a:extLst>
                </a:gridCol>
              </a:tblGrid>
              <a:tr h="774055">
                <a:tc>
                  <a:txBody>
                    <a:bodyPr/>
                    <a:lstStyle/>
                    <a:p>
                      <a:r>
                        <a:rPr lang="en-US" sz="1600" dirty="0"/>
                        <a:t>Capability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urrent Role Access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Restrictions to be implemented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New Role Name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Functions to be modified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Notes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403750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Manual Merge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Super User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y Business Admin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y SM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Hierarchy Business Admin (limited functions)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Hierarchy SME (limited function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nable the link only for </a:t>
                      </a:r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Manual Merge Admin (add-on)</a:t>
                      </a:r>
                      <a:r>
                        <a:rPr lang="en-US" sz="1400" dirty="0"/>
                        <a:t> Role</a:t>
                      </a:r>
                    </a:p>
                    <a:p>
                      <a:endParaRPr lang="en-US" sz="1400" dirty="0"/>
                    </a:p>
                    <a:p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Does Hierarchy team need access to investigate any fallouts – check with Katya</a:t>
                      </a:r>
                      <a:endParaRPr lang="en-GB" sz="1400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Manual Merge Admin (add-on) </a:t>
                      </a:r>
                      <a:endParaRPr lang="en-GB" sz="1400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94637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Candidate Resolution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Super User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y Business Admin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y SM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Hierarchy Business Admin (limited functions)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Hierarchy SME (limited function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Enable the link only for </a:t>
                      </a:r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Candidate Resolution Admin (add-on)</a:t>
                      </a:r>
                      <a:r>
                        <a:rPr lang="en-US" sz="1400" dirty="0"/>
                        <a:t> Rol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Does Hierarchy team need access to investigate any fallouts – check with Katya</a:t>
                      </a:r>
                      <a:endParaRPr lang="en-GB" sz="1400" dirty="0">
                        <a:solidFill>
                          <a:srgbClr val="00B05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Candidate Resolution Admin (add-on)</a:t>
                      </a:r>
                      <a:r>
                        <a:rPr lang="en-US" sz="1400" dirty="0"/>
                        <a:t> </a:t>
                      </a:r>
                      <a:endParaRPr lang="en-GB" sz="1400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2448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2049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DM UI – New Roles to control access to Tax detai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972" y="838072"/>
            <a:ext cx="10969784" cy="550594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New roles to be created to limit the access to tax details in EMDM UI</a:t>
            </a:r>
          </a:p>
          <a:p>
            <a:pPr marL="0" indent="0">
              <a:buNone/>
            </a:pPr>
            <a:endParaRPr lang="en-US" sz="11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en-GB" sz="11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5143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GB" sz="13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6</a:t>
            </a:fld>
            <a:endParaRPr lang="en-US" dirty="0">
              <a:solidFill>
                <a:srgbClr val="5F7A76"/>
              </a:solidFill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0450EE3B-82B8-427C-A6AC-BC149E4C1A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5879236"/>
              </p:ext>
            </p:extLst>
          </p:nvPr>
        </p:nvGraphicFramePr>
        <p:xfrm>
          <a:off x="228600" y="1371600"/>
          <a:ext cx="11963400" cy="5742295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312058192"/>
                    </a:ext>
                  </a:extLst>
                </a:gridCol>
                <a:gridCol w="2590800">
                  <a:extLst>
                    <a:ext uri="{9D8B030D-6E8A-4147-A177-3AD203B41FA5}">
                      <a16:colId xmlns:a16="http://schemas.microsoft.com/office/drawing/2014/main" val="2423896262"/>
                    </a:ext>
                  </a:extLst>
                </a:gridCol>
                <a:gridCol w="2590800">
                  <a:extLst>
                    <a:ext uri="{9D8B030D-6E8A-4147-A177-3AD203B41FA5}">
                      <a16:colId xmlns:a16="http://schemas.microsoft.com/office/drawing/2014/main" val="1659442596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4150554962"/>
                    </a:ext>
                  </a:extLst>
                </a:gridCol>
                <a:gridCol w="1993900">
                  <a:extLst>
                    <a:ext uri="{9D8B030D-6E8A-4147-A177-3AD203B41FA5}">
                      <a16:colId xmlns:a16="http://schemas.microsoft.com/office/drawing/2014/main" val="2777215551"/>
                    </a:ext>
                  </a:extLst>
                </a:gridCol>
                <a:gridCol w="1993900">
                  <a:extLst>
                    <a:ext uri="{9D8B030D-6E8A-4147-A177-3AD203B41FA5}">
                      <a16:colId xmlns:a16="http://schemas.microsoft.com/office/drawing/2014/main" val="1763410560"/>
                    </a:ext>
                  </a:extLst>
                </a:gridCol>
              </a:tblGrid>
              <a:tr h="774055">
                <a:tc>
                  <a:txBody>
                    <a:bodyPr/>
                    <a:lstStyle/>
                    <a:p>
                      <a:r>
                        <a:rPr lang="en-US" sz="1600" dirty="0"/>
                        <a:t>Capability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urrent Role Access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Restrictions to be implemented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New Role Name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Functions to be modified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Notes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403750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Data Loader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Super User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y Business Admin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y SM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Hierarchy Business Admin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Hierarchy SM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ner Business Admin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ner S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Limiting the access will be finalized once the Loaders are rationalized to one tool</a:t>
                      </a:r>
                      <a:endParaRPr lang="en-US" sz="1400" dirty="0"/>
                    </a:p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heck all the templates if any tax details are displayed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9463702"/>
                  </a:ext>
                </a:extLst>
              </a:tr>
              <a:tr h="201305">
                <a:tc>
                  <a:txBody>
                    <a:bodyPr/>
                    <a:lstStyle/>
                    <a:p>
                      <a:r>
                        <a:rPr lang="en-US" sz="1400" dirty="0"/>
                        <a:t>Batch Loader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Super User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y Business Admin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/>
                        <a:t>Party S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tep 1 - Ops is using to match with the existing EMDM. </a:t>
                      </a:r>
                    </a:p>
                    <a:p>
                      <a:r>
                        <a:rPr lang="en-US" sz="1400" dirty="0"/>
                        <a:t>Step 2 – create new parties if match is unsuccessful</a:t>
                      </a:r>
                      <a:endParaRPr lang="en-GB" sz="1400" dirty="0"/>
                    </a:p>
                    <a:p>
                      <a:endParaRPr lang="en-GB" sz="1400" dirty="0"/>
                    </a:p>
                    <a:p>
                      <a:r>
                        <a:rPr lang="en-GB" sz="1400" dirty="0"/>
                        <a:t>Limiting the access will be finalized once the Loaders are rationalized to one tool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heck if any tax details are displayed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24487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IDD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Restrict access to limited users or certain role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/>
                        <a:t>Reference data maintenance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/>
                        <a:t>Ops for ad hoc party updates</a:t>
                      </a:r>
                    </a:p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>
                          <a:solidFill>
                            <a:srgbClr val="00B050"/>
                          </a:solidFill>
                        </a:rPr>
                        <a:t>IDDAdmin</a:t>
                      </a:r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 (add-on) Role</a:t>
                      </a:r>
                      <a:endParaRPr lang="en-GB" sz="1400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Further analysis on restricting the access to very few roles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96789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7020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DM UI – New Roles to control access to Tax detai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972" y="838072"/>
            <a:ext cx="10969784" cy="550594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New roles to be created to limit the access to tax details in EMDM UI</a:t>
            </a:r>
          </a:p>
          <a:p>
            <a:pPr marL="0" indent="0">
              <a:buNone/>
            </a:pPr>
            <a:endParaRPr lang="en-US" sz="11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en-GB" sz="11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5143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GB" sz="13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7</a:t>
            </a:fld>
            <a:endParaRPr lang="en-US" dirty="0">
              <a:solidFill>
                <a:srgbClr val="5F7A76"/>
              </a:solidFill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0450EE3B-82B8-427C-A6AC-BC149E4C1A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6475982"/>
              </p:ext>
            </p:extLst>
          </p:nvPr>
        </p:nvGraphicFramePr>
        <p:xfrm>
          <a:off x="228600" y="1371600"/>
          <a:ext cx="11963400" cy="3517255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312058192"/>
                    </a:ext>
                  </a:extLst>
                </a:gridCol>
                <a:gridCol w="2590800">
                  <a:extLst>
                    <a:ext uri="{9D8B030D-6E8A-4147-A177-3AD203B41FA5}">
                      <a16:colId xmlns:a16="http://schemas.microsoft.com/office/drawing/2014/main" val="2423896262"/>
                    </a:ext>
                  </a:extLst>
                </a:gridCol>
                <a:gridCol w="2590800">
                  <a:extLst>
                    <a:ext uri="{9D8B030D-6E8A-4147-A177-3AD203B41FA5}">
                      <a16:colId xmlns:a16="http://schemas.microsoft.com/office/drawing/2014/main" val="1659442596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4150554962"/>
                    </a:ext>
                  </a:extLst>
                </a:gridCol>
                <a:gridCol w="1993900">
                  <a:extLst>
                    <a:ext uri="{9D8B030D-6E8A-4147-A177-3AD203B41FA5}">
                      <a16:colId xmlns:a16="http://schemas.microsoft.com/office/drawing/2014/main" val="2777215551"/>
                    </a:ext>
                  </a:extLst>
                </a:gridCol>
                <a:gridCol w="1993900">
                  <a:extLst>
                    <a:ext uri="{9D8B030D-6E8A-4147-A177-3AD203B41FA5}">
                      <a16:colId xmlns:a16="http://schemas.microsoft.com/office/drawing/2014/main" val="1763410560"/>
                    </a:ext>
                  </a:extLst>
                </a:gridCol>
              </a:tblGrid>
              <a:tr h="774055">
                <a:tc>
                  <a:txBody>
                    <a:bodyPr/>
                    <a:lstStyle/>
                    <a:p>
                      <a:r>
                        <a:rPr lang="en-US" sz="1600" dirty="0"/>
                        <a:t>Capability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urrent Role Access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Restrictions to be implemented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New Role Name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Functions to be modified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Notes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403750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Protected List/Exclusion Party Report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/>
                        <a:t>Restricted Admin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1) Create a new menu under the Report Tab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2) Remove Tax ID column from the report outpu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3) Explore option to keep the report in two places – Nice to have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dirty="0"/>
                        <a:t>No change in roles just modification to report and UI links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94637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Protected List/Exclusion List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/>
                        <a:t>Restricted Admin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Remove the item from the Manual Merge Link to a separate link on left hand side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8788030"/>
                  </a:ext>
                </a:extLst>
              </a:tr>
            </a:tbl>
          </a:graphicData>
        </a:graphic>
      </p:graphicFrame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9880BD9D-D8F1-4EDA-B58E-8D9D64F2996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1715319"/>
              </p:ext>
            </p:extLst>
          </p:nvPr>
        </p:nvGraphicFramePr>
        <p:xfrm>
          <a:off x="10748908" y="4196769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Document" showAsIcon="1" r:id="rId4" imgW="914400" imgH="806400" progId="Word.Document.12">
                  <p:embed/>
                </p:oleObj>
              </mc:Choice>
              <mc:Fallback>
                <p:oleObj name="Document" showAsIcon="1" r:id="rId4" imgW="914400" imgH="806400" progId="Word.Document.12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9880BD9D-D8F1-4EDA-B58E-8D9D64F299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748908" y="4196769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41851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DM UI – Current User Roles Acces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972" y="838072"/>
            <a:ext cx="10969784" cy="5505947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11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en-GB" sz="11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5143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GB" sz="13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8</a:t>
            </a:fld>
            <a:endParaRPr lang="en-US" dirty="0">
              <a:solidFill>
                <a:srgbClr val="5F7A76"/>
              </a:solidFill>
            </a:endParaRP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958AB7E3-299F-4341-A477-A6E4789159F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2477432"/>
              </p:ext>
            </p:extLst>
          </p:nvPr>
        </p:nvGraphicFramePr>
        <p:xfrm>
          <a:off x="2057400" y="1981200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Worksheet" showAsIcon="1" r:id="rId4" imgW="914400" imgH="806400" progId="Excel.Sheet.12">
                  <p:embed/>
                </p:oleObj>
              </mc:Choice>
              <mc:Fallback>
                <p:oleObj name="Worksheet" showAsIcon="1" r:id="rId4" imgW="914400" imgH="806400" progId="Excel.Sheet.12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958AB7E3-299F-4341-A477-A6E47891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57400" y="1981200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508D0878-CC9F-4A03-8A53-2AA6BC9097D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73195240"/>
              </p:ext>
            </p:extLst>
          </p:nvPr>
        </p:nvGraphicFramePr>
        <p:xfrm>
          <a:off x="5486400" y="1973317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Worksheet" showAsIcon="1" r:id="rId6" imgW="914400" imgH="806400" progId="Excel.Sheet.12">
                  <p:embed/>
                </p:oleObj>
              </mc:Choice>
              <mc:Fallback>
                <p:oleObj name="Worksheet" showAsIcon="1" r:id="rId6" imgW="914400" imgH="806400" progId="Excel.Sheet.12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508D0878-CC9F-4A03-8A53-2AA6BC9097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486400" y="1973317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86434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E_Standard_Arial_16x9_v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blank.potx" id="{FA637C1A-F7F0-4A79-98E6-0ED04AEFDF68}" vid="{0EC1493B-8749-4010-9793-EA37CDC37708}"/>
    </a:ext>
  </a:extLst>
</a:theme>
</file>

<file path=ppt/theme/theme10.xml><?xml version="1.0" encoding="utf-8"?>
<a:theme xmlns:a="http://schemas.openxmlformats.org/drawingml/2006/main" name="16_HPE_Standard_Arial_16x9_v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HP">
      <a:majorFont>
        <a:latin typeface="Metric Semibold"/>
        <a:ea typeface=""/>
        <a:cs typeface=""/>
      </a:majorFont>
      <a:minorFont>
        <a:latin typeface="Metric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blank.potx" id="{FA637C1A-F7F0-4A79-98E6-0ED04AEFDF68}" vid="{0EC1493B-8749-4010-9793-EA37CDC37708}"/>
    </a:ext>
  </a:extLst>
</a:theme>
</file>

<file path=ppt/theme/theme11.xml><?xml version="1.0" encoding="utf-8"?>
<a:theme xmlns:a="http://schemas.openxmlformats.org/drawingml/2006/main" name="17_HPE_Standard_Arial_16x9_v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HP">
      <a:majorFont>
        <a:latin typeface="Metric Semibold"/>
        <a:ea typeface=""/>
        <a:cs typeface=""/>
      </a:majorFont>
      <a:minorFont>
        <a:latin typeface="Metric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blank.potx" id="{FA637C1A-F7F0-4A79-98E6-0ED04AEFDF68}" vid="{0EC1493B-8749-4010-9793-EA37CDC37708}"/>
    </a:ext>
  </a:extLst>
</a:theme>
</file>

<file path=ppt/theme/theme12.xml><?xml version="1.0" encoding="utf-8"?>
<a:theme xmlns:a="http://schemas.openxmlformats.org/drawingml/2006/main" name="18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Global IT Simple Template.potx" id="{77279816-82DA-455E-A400-BE1DD94FF25D}" vid="{5AF47158-701E-40C5-BFF0-327B07829E87}"/>
    </a:ext>
  </a:extLst>
</a:theme>
</file>

<file path=ppt/theme/theme13.xml><?xml version="1.0" encoding="utf-8"?>
<a:theme xmlns:a="http://schemas.openxmlformats.org/drawingml/2006/main" name="19_HPE_Standard_Arial_16x9_v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blank.potx" id="{FA637C1A-F7F0-4A79-98E6-0ED04AEFDF68}" vid="{0EC1493B-8749-4010-9793-EA37CDC37708}"/>
    </a:ext>
  </a:extLst>
</a:theme>
</file>

<file path=ppt/theme/theme14.xml><?xml version="1.0" encoding="utf-8"?>
<a:theme xmlns:a="http://schemas.openxmlformats.org/drawingml/2006/main" name="20_HPE_Standard_Arial_16x9_v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blank.potx" id="{FA637C1A-F7F0-4A79-98E6-0ED04AEFDF68}" vid="{0EC1493B-8749-4010-9793-EA37CDC37708}"/>
    </a:ext>
  </a:extLst>
</a:theme>
</file>

<file path=ppt/theme/theme15.xml><?xml version="1.0" encoding="utf-8"?>
<a:theme xmlns:a="http://schemas.openxmlformats.org/drawingml/2006/main" name="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16.xml><?xml version="1.0" encoding="utf-8"?>
<a:theme xmlns:a="http://schemas.openxmlformats.org/drawingml/2006/main" name="9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1440" tIns="91440" rIns="91440" bIns="91440" rtlCol="0">
        <a:spAutoFit/>
      </a:bodyPr>
      <a:lstStyle>
        <a:defPPr marL="285750" indent="-285750" algn="l">
          <a:lnSpc>
            <a:spcPct val="90000"/>
          </a:lnSpc>
          <a:spcBef>
            <a:spcPts val="400"/>
          </a:spcBef>
          <a:buFont typeface="MetricHPE" panose="020B0503030202060203" pitchFamily="34" charset="0"/>
          <a:buChar char="•"/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1" id="{7DF5F323-546A-4266-AB0D-3E34DF89ED01}" vid="{7C0AFBC9-9495-47B5-BF37-005EEF200293}"/>
    </a:ext>
  </a:extLst>
</a:theme>
</file>

<file path=ppt/theme/theme17.xml><?xml version="1.0" encoding="utf-8"?>
<a:theme xmlns:a="http://schemas.openxmlformats.org/drawingml/2006/main" name="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182880" tIns="182880" rIns="182880" bIns="182880" rtlCol="0">
        <a:spAutoFit/>
      </a:bodyPr>
      <a:lstStyle>
        <a:defPPr algn="l">
          <a:lnSpc>
            <a:spcPct val="90000"/>
          </a:lnSpc>
          <a:spcBef>
            <a:spcPts val="400"/>
          </a:spcBef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Standard 16x9 White Template.pptx" id="{413FE5A0-5971-492C-AADA-5C9E9F554605}" vid="{9B816485-25F1-4B6F-8965-48C8821912A4}"/>
    </a:ext>
  </a:extLst>
</a:theme>
</file>

<file path=ppt/theme/theme18.xml><?xml version="1.0" encoding="utf-8"?>
<a:theme xmlns:a="http://schemas.openxmlformats.org/drawingml/2006/main" name="Office Theme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Office Theme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</a:theme>
</file>

<file path=ppt/theme/theme2.xml><?xml version="1.0" encoding="utf-8"?>
<a:theme xmlns:a="http://schemas.openxmlformats.org/drawingml/2006/main" name="HPE_Events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Events_Arial_16x9.potx" id="{DB1DBED7-3C30-4A55-A21D-8DA3C5003FBA}" vid="{9F1A6250-F352-417B-8E5B-2AE5969220EF}"/>
    </a:ext>
  </a:extLst>
</a:theme>
</file>

<file path=ppt/theme/theme3.xml><?xml version="1.0" encoding="utf-8"?>
<a:theme xmlns:a="http://schemas.openxmlformats.org/drawingml/2006/main" name="1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blank.potx" id="{FA637C1A-F7F0-4A79-98E6-0ED04AEFDF68}" vid="{0EC1493B-8749-4010-9793-EA37CDC37708}"/>
    </a:ext>
  </a:extLst>
</a:theme>
</file>

<file path=ppt/theme/theme4.xml><?xml version="1.0" encoding="utf-8"?>
<a:theme xmlns:a="http://schemas.openxmlformats.org/drawingml/2006/main" name="2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Global IT Simple Template.potx" id="{77279816-82DA-455E-A400-BE1DD94FF25D}" vid="{5AF47158-701E-40C5-BFF0-327B07829E87}"/>
    </a:ext>
  </a:extLst>
</a:theme>
</file>

<file path=ppt/theme/theme5.xml><?xml version="1.0" encoding="utf-8"?>
<a:theme xmlns:a="http://schemas.openxmlformats.org/drawingml/2006/main" name="4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Global IT HPE PPT Template (002).potx [Read-Only]" id="{3F328D4B-A9B2-4790-ABB5-B61C0AE587A1}" vid="{58036A93-1991-46C6-99A3-66148056F292}"/>
    </a:ext>
  </a:extLst>
</a:theme>
</file>

<file path=ppt/theme/theme6.xml><?xml version="1.0" encoding="utf-8"?>
<a:theme xmlns:a="http://schemas.openxmlformats.org/drawingml/2006/main" name="5_HPE_Standard_Arial_16x9_v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blank.potx" id="{FA637C1A-F7F0-4A79-98E6-0ED04AEFDF68}" vid="{0EC1493B-8749-4010-9793-EA37CDC37708}"/>
    </a:ext>
  </a:extLst>
</a:theme>
</file>

<file path=ppt/theme/theme7.xml><?xml version="1.0" encoding="utf-8"?>
<a:theme xmlns:a="http://schemas.openxmlformats.org/drawingml/2006/main" name="6_HPE_Standard_Arial_16x9_v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blank.potx" id="{FA637C1A-F7F0-4A79-98E6-0ED04AEFDF68}" vid="{0EC1493B-8749-4010-9793-EA37CDC37708}"/>
    </a:ext>
  </a:extLst>
</a:theme>
</file>

<file path=ppt/theme/theme8.xml><?xml version="1.0" encoding="utf-8"?>
<a:theme xmlns:a="http://schemas.openxmlformats.org/drawingml/2006/main" name="11_HPE_Standard_Arial_16x9_v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blank.potx" id="{FA637C1A-F7F0-4A79-98E6-0ED04AEFDF68}" vid="{0EC1493B-8749-4010-9793-EA37CDC37708}"/>
    </a:ext>
  </a:extLst>
</a:theme>
</file>

<file path=ppt/theme/theme9.xml><?xml version="1.0" encoding="utf-8"?>
<a:theme xmlns:a="http://schemas.openxmlformats.org/drawingml/2006/main" name="15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HP">
      <a:majorFont>
        <a:latin typeface="Metric Semibold"/>
        <a:ea typeface=""/>
        <a:cs typeface=""/>
      </a:majorFont>
      <a:minorFont>
        <a:latin typeface="Metric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blank.potx" id="{FA637C1A-F7F0-4A79-98E6-0ED04AEFDF68}" vid="{0EC1493B-8749-4010-9793-EA37CDC3770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1582</TotalTime>
  <Words>913</Words>
  <Application>Microsoft Office PowerPoint</Application>
  <PresentationFormat>Widescreen</PresentationFormat>
  <Paragraphs>200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7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8</vt:i4>
      </vt:variant>
    </vt:vector>
  </HeadingPairs>
  <TitlesOfParts>
    <vt:vector size="40" baseType="lpstr">
      <vt:lpstr>Arial</vt:lpstr>
      <vt:lpstr>Ariel</vt:lpstr>
      <vt:lpstr>Calibri</vt:lpstr>
      <vt:lpstr>Metric Bold</vt:lpstr>
      <vt:lpstr>Metric Regular</vt:lpstr>
      <vt:lpstr>Metric Semibold</vt:lpstr>
      <vt:lpstr>MetricHPE</vt:lpstr>
      <vt:lpstr>MetricHPE Black</vt:lpstr>
      <vt:lpstr>MetricHPE Light</vt:lpstr>
      <vt:lpstr>MetricHPE Semibold</vt:lpstr>
      <vt:lpstr>Verdana</vt:lpstr>
      <vt:lpstr>Wingdings</vt:lpstr>
      <vt:lpstr>HPE_Standard_Arial_16x9_v5</vt:lpstr>
      <vt:lpstr>HPE_Events_Metric_16x9_v2</vt:lpstr>
      <vt:lpstr>1_HPE_Standard_Arial_16x9_v5</vt:lpstr>
      <vt:lpstr>2_HPE_Standard_Arial_16x9_v5</vt:lpstr>
      <vt:lpstr>4_HPE_Standard_Arial_16x9_v5</vt:lpstr>
      <vt:lpstr>5_HPE_Standard_Arial_16x9_v5</vt:lpstr>
      <vt:lpstr>6_HPE_Standard_Arial_16x9_v5</vt:lpstr>
      <vt:lpstr>11_HPE_Standard_Arial_16x9_v5</vt:lpstr>
      <vt:lpstr>15_HPE_Standard_Arial_16x9_v5</vt:lpstr>
      <vt:lpstr>16_HPE_Standard_Arial_16x9_v5</vt:lpstr>
      <vt:lpstr>17_HPE_Standard_Arial_16x9_v5</vt:lpstr>
      <vt:lpstr>18_HPE_Standard_Arial_16x9_v5</vt:lpstr>
      <vt:lpstr>19_HPE_Standard_Arial_16x9_v5</vt:lpstr>
      <vt:lpstr>20_HPE_Standard_Arial_16x9_v5</vt:lpstr>
      <vt:lpstr>HPE_Standard_Arial_16x9_v2</vt:lpstr>
      <vt:lpstr>9_HPE_Standard_Metric_16x9_080117</vt:lpstr>
      <vt:lpstr>HPE_Standard_Metric_16x9_080117</vt:lpstr>
      <vt:lpstr>think-cell Slide</vt:lpstr>
      <vt:lpstr>Document</vt:lpstr>
      <vt:lpstr>Worksheet</vt:lpstr>
      <vt:lpstr>EMDM</vt:lpstr>
      <vt:lpstr>EMDM Access Controls for Privacy &amp; Information Governance</vt:lpstr>
      <vt:lpstr>EMDM UI – New Roles to control access to Tax details</vt:lpstr>
      <vt:lpstr>EMDM UI – New Roles to control access to Tax details</vt:lpstr>
      <vt:lpstr>EMDM UI – New Roles to control access to Tax details</vt:lpstr>
      <vt:lpstr>EMDM UI – New Roles to control access to Tax details</vt:lpstr>
      <vt:lpstr>EMDM UI – New Roles to control access to Tax details</vt:lpstr>
      <vt:lpstr>EMDM UI – Current User Roles Access</vt:lpstr>
    </vt:vector>
  </TitlesOfParts>
  <Company>Hewlett Packar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 with picture</dc:title>
  <dc:creator>ashraf.mohammed@hpe.com</dc:creator>
  <cp:lastModifiedBy>Mohapatra, Papun Kumar</cp:lastModifiedBy>
  <cp:revision>6337</cp:revision>
  <cp:lastPrinted>2017-08-15T03:30:19Z</cp:lastPrinted>
  <dcterms:created xsi:type="dcterms:W3CDTF">2016-02-29T14:39:10Z</dcterms:created>
  <dcterms:modified xsi:type="dcterms:W3CDTF">2021-11-23T08:44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289701</vt:lpwstr>
  </property>
  <property fmtid="{D5CDD505-2E9C-101B-9397-08002B2CF9AE}" pid="3" name="NXPowerLiteSettings">
    <vt:lpwstr>B74006B004C800</vt:lpwstr>
  </property>
  <property fmtid="{D5CDD505-2E9C-101B-9397-08002B2CF9AE}" pid="4" name="NXPowerLiteVersion">
    <vt:lpwstr>D6.0.7</vt:lpwstr>
  </property>
  <property fmtid="{D5CDD505-2E9C-101B-9397-08002B2CF9AE}" pid="5" name="MSIP_Label_ea60d57e-af5b-4752-ac57-3e4f28ca11dc_Enabled">
    <vt:lpwstr>true</vt:lpwstr>
  </property>
  <property fmtid="{D5CDD505-2E9C-101B-9397-08002B2CF9AE}" pid="6" name="MSIP_Label_ea60d57e-af5b-4752-ac57-3e4f28ca11dc_SetDate">
    <vt:lpwstr>2021-11-23T05:26:04Z</vt:lpwstr>
  </property>
  <property fmtid="{D5CDD505-2E9C-101B-9397-08002B2CF9AE}" pid="7" name="MSIP_Label_ea60d57e-af5b-4752-ac57-3e4f28ca11dc_Method">
    <vt:lpwstr>Standard</vt:lpwstr>
  </property>
  <property fmtid="{D5CDD505-2E9C-101B-9397-08002B2CF9AE}" pid="8" name="MSIP_Label_ea60d57e-af5b-4752-ac57-3e4f28ca11dc_Name">
    <vt:lpwstr>ea60d57e-af5b-4752-ac57-3e4f28ca11dc</vt:lpwstr>
  </property>
  <property fmtid="{D5CDD505-2E9C-101B-9397-08002B2CF9AE}" pid="9" name="MSIP_Label_ea60d57e-af5b-4752-ac57-3e4f28ca11dc_SiteId">
    <vt:lpwstr>36da45f1-dd2c-4d1f-af13-5abe46b99921</vt:lpwstr>
  </property>
  <property fmtid="{D5CDD505-2E9C-101B-9397-08002B2CF9AE}" pid="10" name="MSIP_Label_ea60d57e-af5b-4752-ac57-3e4f28ca11dc_ActionId">
    <vt:lpwstr>0d1c8ee6-0df6-4c76-92fc-6616f9b01446</vt:lpwstr>
  </property>
  <property fmtid="{D5CDD505-2E9C-101B-9397-08002B2CF9AE}" pid="11" name="MSIP_Label_ea60d57e-af5b-4752-ac57-3e4f28ca11dc_ContentBits">
    <vt:lpwstr>0</vt:lpwstr>
  </property>
</Properties>
</file>